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4248" r:id="rId4"/>
  </p:sldMasterIdLst>
  <p:notesMasterIdLst>
    <p:notesMasterId r:id="rId11"/>
  </p:notesMasterIdLst>
  <p:handoutMasterIdLst>
    <p:handoutMasterId r:id="rId12"/>
  </p:handoutMasterIdLst>
  <p:sldIdLst>
    <p:sldId id="3236" r:id="rId5"/>
    <p:sldId id="2142534697" r:id="rId6"/>
    <p:sldId id="2142534698" r:id="rId7"/>
    <p:sldId id="2142534699" r:id="rId8"/>
    <p:sldId id="2142534701" r:id="rId9"/>
    <p:sldId id="2142534696" r:id="rId10"/>
  </p:sldIdLst>
  <p:sldSz cx="12192000" cy="6858000"/>
  <p:notesSz cx="7315200" cy="96012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CE28B413-57F4-534C-9E05-9338FC4F2AE4}">
          <p14:sldIdLst>
            <p14:sldId id="3236"/>
          </p14:sldIdLst>
        </p14:section>
        <p14:section name="Ideathon" id="{6AD7AAB1-CE4F-4722-B0EF-0DEF87A7EF21}">
          <p14:sldIdLst>
            <p14:sldId id="2142534697"/>
            <p14:sldId id="2142534698"/>
            <p14:sldId id="2142534699"/>
            <p14:sldId id="2142534701"/>
          </p14:sldIdLst>
        </p14:section>
        <p14:section name="Closing" id="{217C369D-AAA8-024B-8BC8-EAC3324A4ED8}">
          <p14:sldIdLst>
            <p14:sldId id="2142534696"/>
          </p14:sldIdLst>
        </p14:section>
      </p14:sectionLst>
    </p:ext>
    <p:ext uri="{EFAFB233-063F-42B5-8137-9DF3F51BA10A}">
      <p15:sldGuideLst xmlns:p15="http://schemas.microsoft.com/office/powerpoint/2012/main">
        <p15:guide id="10" pos="3552" userDrawn="1">
          <p15:clr>
            <a:srgbClr val="A4A3A4"/>
          </p15:clr>
        </p15:guide>
        <p15:guide id="11" orient="horz" pos="696" userDrawn="1">
          <p15:clr>
            <a:srgbClr val="A4A3A4"/>
          </p15:clr>
        </p15:guide>
        <p15:guide id="12" orient="horz" pos="297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Alev, Merve" initials="AM" lastIdx="45" clrIdx="5">
    <p:extLst>
      <p:ext uri="{19B8F6BF-5375-455C-9EA6-DF929625EA0E}">
        <p15:presenceInfo xmlns:p15="http://schemas.microsoft.com/office/powerpoint/2012/main" userId="S::malev@deloitte.com::ee519262-15c0-413f-a06a-dfd65290fc49" providerId="AD"/>
      </p:ext>
    </p:extLst>
  </p:cmAuthor>
  <p:cmAuthor id="1" name="Author" initials="A" lastIdx="82" clrIdx="0"/>
  <p:cmAuthor id="8" name="Bolsoy, Berna" initials="BB" lastIdx="21" clrIdx="6">
    <p:extLst>
      <p:ext uri="{19B8F6BF-5375-455C-9EA6-DF929625EA0E}">
        <p15:presenceInfo xmlns:p15="http://schemas.microsoft.com/office/powerpoint/2012/main" userId="S::bbolsoy@deloitte.com::24349ebb-1a35-4b9f-b7e7-9f21264bf1c4" providerId="AD"/>
      </p:ext>
    </p:extLst>
  </p:cmAuthor>
  <p:cmAuthor id="2" name="Hall, Laura J." initials="HLJ" lastIdx="5" clrIdx="1">
    <p:extLst>
      <p:ext uri="{19B8F6BF-5375-455C-9EA6-DF929625EA0E}">
        <p15:presenceInfo xmlns:p15="http://schemas.microsoft.com/office/powerpoint/2012/main" userId="S::lahall@deloitte.com::fbf71cd5-481f-4c4a-851c-9cfe5035460d" providerId="AD"/>
      </p:ext>
    </p:extLst>
  </p:cmAuthor>
  <p:cmAuthor id="9" name="Ot, Ibrahim" initials="OI" lastIdx="15" clrIdx="7">
    <p:extLst>
      <p:ext uri="{19B8F6BF-5375-455C-9EA6-DF929625EA0E}">
        <p15:presenceInfo xmlns:p15="http://schemas.microsoft.com/office/powerpoint/2012/main" userId="S::ibot@deloitte.com::a6959ab7-5e30-4c94-a5d0-c2446c244fee" providerId="AD"/>
      </p:ext>
    </p:extLst>
  </p:cmAuthor>
  <p:cmAuthor id="3" name="Jessica" initials="J" lastIdx="1" clrIdx="2">
    <p:extLst>
      <p:ext uri="{19B8F6BF-5375-455C-9EA6-DF929625EA0E}">
        <p15:presenceInfo xmlns:p15="http://schemas.microsoft.com/office/powerpoint/2012/main" userId="S::jfaus@deloitte.com::25f9b826-38db-4700-ae2c-030635b89362" providerId="AD"/>
      </p:ext>
    </p:extLst>
  </p:cmAuthor>
  <p:cmAuthor id="10" name="Sonmez, Ezgi" initials="SE" lastIdx="5" clrIdx="8">
    <p:extLst>
      <p:ext uri="{19B8F6BF-5375-455C-9EA6-DF929625EA0E}">
        <p15:presenceInfo xmlns:p15="http://schemas.microsoft.com/office/powerpoint/2012/main" userId="S::ezsonmez@deloitte.com::37c8a870-1620-4908-9d8a-1acdf47c721c" providerId="AD"/>
      </p:ext>
    </p:extLst>
  </p:cmAuthor>
  <p:cmAuthor id="4" name="Chelski, Ashley" initials="CA" lastIdx="5" clrIdx="1">
    <p:extLst>
      <p:ext uri="{19B8F6BF-5375-455C-9EA6-DF929625EA0E}">
        <p15:presenceInfo xmlns:p15="http://schemas.microsoft.com/office/powerpoint/2012/main" userId="S::achelski@deloitte.com::dea4847c-7d8f-4c04-90ab-13e736c969b0" providerId="AD"/>
      </p:ext>
    </p:extLst>
  </p:cmAuthor>
  <p:cmAuthor id="5" name="Kim, Shawn Cha" initials="KSC" lastIdx="3" clrIdx="3">
    <p:extLst>
      <p:ext uri="{19B8F6BF-5375-455C-9EA6-DF929625EA0E}">
        <p15:presenceInfo xmlns:p15="http://schemas.microsoft.com/office/powerpoint/2012/main" userId="S::shkim@deloitte.com::b827a7e2-635f-478d-a4e4-391a2a4217f1" providerId="AD"/>
      </p:ext>
    </p:extLst>
  </p:cmAuthor>
  <p:cmAuthor id="6" name="Ma, Chin" initials="MC" lastIdx="1" clrIdx="4">
    <p:extLst>
      <p:ext uri="{19B8F6BF-5375-455C-9EA6-DF929625EA0E}">
        <p15:presenceInfo xmlns:p15="http://schemas.microsoft.com/office/powerpoint/2012/main" userId="S::cma@deloitte.com::b31cae26-bec3-4bf0-8771-4bdceb5838a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5E7E1"/>
    <a:srgbClr val="E2E2E2"/>
    <a:srgbClr val="CCE9E7"/>
    <a:srgbClr val="7FCBD4"/>
    <a:srgbClr val="EDEDED"/>
    <a:srgbClr val="0A0F14"/>
    <a:srgbClr val="A0DCFF"/>
    <a:srgbClr val="9DD4CF"/>
    <a:srgbClr val="4242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69" autoAdjust="0"/>
    <p:restoredTop sz="94694"/>
  </p:normalViewPr>
  <p:slideViewPr>
    <p:cSldViewPr snapToGrid="0">
      <p:cViewPr>
        <p:scale>
          <a:sx n="75" d="100"/>
          <a:sy n="75" d="100"/>
        </p:scale>
        <p:origin x="682" y="125"/>
      </p:cViewPr>
      <p:guideLst>
        <p:guide pos="3552"/>
        <p:guide orient="horz" pos="696"/>
        <p:guide orient="horz" pos="297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D018977-0EE8-2F44-A5F3-6B47548C926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Open Sans" panose="020B0606030504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406B25D-270A-C746-87B6-7C62253C42A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143375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ADBBCA-923A-3441-BFA0-90E5FEDE311A}" type="datetimeFigureOut">
              <a:rPr lang="en-US" smtClean="0">
                <a:latin typeface="Open Sans" panose="020B0606030504020204" pitchFamily="34" charset="0"/>
              </a:rPr>
              <a:t>12/11/2021</a:t>
            </a:fld>
            <a:endParaRPr lang="en-US">
              <a:latin typeface="Open Sans" panose="020B0606030504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48285F-DFCF-EA40-B8F0-045E588C5BC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Open Sans" panose="020B0606030504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192E1C-D389-9D4E-9F4E-1548E0AAA8C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5673C3-27A8-D144-A7C0-09FAF063A9CD}" type="slidenum">
              <a:rPr lang="en-US" smtClean="0">
                <a:latin typeface="Open Sans" panose="020B0606030504020204" pitchFamily="34" charset="0"/>
              </a:rPr>
              <a:t>‹#›</a:t>
            </a:fld>
            <a:endParaRPr lang="en-US">
              <a:latin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45024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Open Sans" panose="020B060603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375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Open Sans" panose="020B0606030504020204" pitchFamily="34" charset="0"/>
              </a:defRPr>
            </a:lvl1pPr>
          </a:lstStyle>
          <a:p>
            <a:fld id="{99D25135-8F2B-3A4A-87B4-4A416BBAAFF0}" type="datetimeFigureOut">
              <a:rPr lang="en-US" smtClean="0"/>
              <a:pPr/>
              <a:t>12/11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838" y="4621213"/>
            <a:ext cx="5851525" cy="37798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Open Sans" panose="020B060603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Open Sans" panose="020B0606030504020204" pitchFamily="34" charset="0"/>
              </a:defRPr>
            </a:lvl1pPr>
          </a:lstStyle>
          <a:p>
            <a:fld id="{FF6365D6-AA63-3047-A4C2-A4044CEFE91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1150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Open Sans" panose="020B060603050402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Open Sans" panose="020B060603050402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Open Sans" panose="020B060603050402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Open Sans" panose="020B060603050402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Open Sans" panose="020B0606030504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61.jpe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jpe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eg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jpe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jpe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jpeg"/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e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C57C6C53-C5E2-4101-A99E-CD2B952B1C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tr-TR"/>
              <a:t>Asıl başlık stilini düzenlemek için tıklayın</a:t>
            </a:r>
            <a:endParaRPr lang="en-US"/>
          </a:p>
        </p:txBody>
      </p:sp>
      <p:sp>
        <p:nvSpPr>
          <p:cNvPr id="3" name="Alt Başlık 2">
            <a:extLst>
              <a:ext uri="{FF2B5EF4-FFF2-40B4-BE49-F238E27FC236}">
                <a16:creationId xmlns:a16="http://schemas.microsoft.com/office/drawing/2014/main" id="{5A9A4953-0AB3-4315-9F0A-5C172EF76C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tr-TR"/>
              <a:t>Asıl alt başlık stilini düzenlemek için tıklayın</a:t>
            </a:r>
            <a:endParaRPr lang="en-US"/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0C46492E-3F02-4081-A26A-721AF425A4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7D5679-8147-4208-AAA0-2764F0861D10}" type="datetimeFigureOut">
              <a:rPr lang="en-US" smtClean="0"/>
              <a:t>12/11/2021</a:t>
            </a:fld>
            <a:endParaRPr lang="en-US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2D40DAA0-19F6-4B74-941B-E0C7290F46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4D920A9D-AD07-425D-A01E-E02A0B64A8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4941B-0C0C-4015-80F4-71582E9B4E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9446175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 ve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D89BF6C4-5BD8-4D28-815B-0D6CA01E77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  <a:endParaRPr lang="en-US"/>
          </a:p>
        </p:txBody>
      </p:sp>
      <p:sp>
        <p:nvSpPr>
          <p:cNvPr id="3" name="Dikey Metin Yer Tutucusu 2">
            <a:extLst>
              <a:ext uri="{FF2B5EF4-FFF2-40B4-BE49-F238E27FC236}">
                <a16:creationId xmlns:a16="http://schemas.microsoft.com/office/drawing/2014/main" id="{3EA9E49C-5594-44FB-96AE-81A7A3E040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  <a:endParaRPr lang="en-US"/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00630ABC-2209-4A94-9FF0-B5A2920CCE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7D5679-8147-4208-AAA0-2764F0861D10}" type="datetimeFigureOut">
              <a:rPr lang="en-US" smtClean="0"/>
              <a:t>12/11/2021</a:t>
            </a:fld>
            <a:endParaRPr lang="en-US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FFFD5B04-DCF6-4926-8740-85C578C2B2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B8156EB4-35E1-47ED-A716-ABD70FA3A7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4941B-0C0C-4015-80F4-71582E9B4E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73639"/>
      </p:ext>
    </p:extLst>
  </p:cSld>
  <p:clrMapOvr>
    <a:masterClrMapping/>
  </p:clrMapOvr>
  <p:hf hdr="0" dt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idebar - Messaging -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>
            <a:extLst>
              <a:ext uri="{FF2B5EF4-FFF2-40B4-BE49-F238E27FC236}">
                <a16:creationId xmlns:a16="http://schemas.microsoft.com/office/drawing/2014/main" id="{8EFA3F56-E6DD-984E-B592-1DE0E30B6AFF}"/>
              </a:ext>
            </a:extLst>
          </p:cNvPr>
          <p:cNvSpPr>
            <a:spLocks/>
          </p:cNvSpPr>
          <p:nvPr userDrawn="1"/>
        </p:nvSpPr>
        <p:spPr bwMode="auto">
          <a:xfrm>
            <a:off x="914719" y="6286500"/>
            <a:ext cx="3326232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Autofit/>
          </a:bodyPr>
          <a:lstStyle/>
          <a:p>
            <a:fld id="{C84F2FB2-4A16-1542-BD5E-F56870239E74}" type="slidenum">
              <a:rPr lang="en-US" sz="800" smtClean="0">
                <a:solidFill>
                  <a:schemeClr val="bg1"/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pPr/>
              <a:t>‹#›</a:t>
            </a:fld>
            <a:r>
              <a:rPr lang="en-US" sz="800">
                <a:solidFill>
                  <a:schemeClr val="bg1"/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 |  Copyright © 2021 Deloitte Development LLC. All rights reserved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C0537C-4D1C-874D-BD53-D50C5EC8C7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40188" y="5365376"/>
            <a:ext cx="5699312" cy="921123"/>
          </a:xfrm>
        </p:spPr>
        <p:txBody>
          <a:bodyPr>
            <a:noAutofit/>
          </a:bodyPr>
          <a:lstStyle>
            <a:lvl1pPr>
              <a:lnSpc>
                <a:spcPct val="120000"/>
              </a:lnSpc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2 lines running intro text. Morbi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, porta ac </a:t>
            </a:r>
            <a:r>
              <a:rPr lang="en-US" err="1"/>
              <a:t>consectetur</a:t>
            </a:r>
            <a:r>
              <a:rPr lang="en-US"/>
              <a:t> ac, vestibulum at eros. Donec sed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 Sed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t lobo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 Sed </a:t>
            </a:r>
            <a:r>
              <a:rPr lang="en-US" err="1"/>
              <a:t>rtis</a:t>
            </a:r>
            <a:r>
              <a:rPr lang="en-US"/>
              <a:t>.</a:t>
            </a:r>
          </a:p>
        </p:txBody>
      </p:sp>
      <p:pic>
        <p:nvPicPr>
          <p:cNvPr id="7" name="Picture 6" descr="A picture containing table&#10;&#10;Description automatically generated">
            <a:extLst>
              <a:ext uri="{FF2B5EF4-FFF2-40B4-BE49-F238E27FC236}">
                <a16:creationId xmlns:a16="http://schemas.microsoft.com/office/drawing/2014/main" id="{B4ACCC21-CBD6-2A47-930B-BB9C62D014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943475" cy="6858000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BAB6B2-829B-074B-A309-B3978A8AE2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13295" y="1969994"/>
            <a:ext cx="5726206" cy="283116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en-US" err="1"/>
              <a:t>Vivamus</a:t>
            </a:r>
            <a:r>
              <a:rPr lang="en-US"/>
              <a:t> integer non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taciti</a:t>
            </a:r>
            <a:r>
              <a:rPr lang="en-US"/>
              <a:t> </a:t>
            </a:r>
            <a:r>
              <a:rPr lang="en-US" err="1"/>
              <a:t>m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at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sit, </a:t>
            </a:r>
            <a:r>
              <a:rPr lang="en-US" err="1"/>
              <a:t>euismod</a:t>
            </a:r>
            <a:r>
              <a:rPr lang="en-US"/>
              <a:t> libero </a:t>
            </a:r>
            <a:r>
              <a:rPr lang="en-US" err="1"/>
              <a:t>facilisi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cursus gravida sociis </a:t>
            </a:r>
            <a:r>
              <a:rPr lang="en-US" err="1"/>
              <a:t>erat</a:t>
            </a:r>
            <a:r>
              <a:rPr lang="en-US"/>
              <a:t> ante,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dapibus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d.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Vivamus</a:t>
            </a:r>
            <a:r>
              <a:rPr lang="en-US"/>
              <a:t> integer non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taciti</a:t>
            </a:r>
            <a:r>
              <a:rPr lang="en-US"/>
              <a:t> </a:t>
            </a:r>
            <a:r>
              <a:rPr lang="en-US" err="1"/>
              <a:t>m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at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sit, </a:t>
            </a:r>
            <a:r>
              <a:rPr lang="en-US" err="1"/>
              <a:t>euismod</a:t>
            </a:r>
            <a:r>
              <a:rPr lang="en-US"/>
              <a:t> libero </a:t>
            </a:r>
            <a:r>
              <a:rPr lang="en-US" err="1"/>
              <a:t>facilisi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cursus gravida sociis </a:t>
            </a:r>
            <a:r>
              <a:rPr lang="en-US" err="1"/>
              <a:t>erat</a:t>
            </a:r>
            <a:r>
              <a:rPr lang="en-US"/>
              <a:t> ante,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dapibus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d.</a:t>
            </a:r>
          </a:p>
          <a:p>
            <a:pPr lvl="0"/>
            <a:endParaRPr lang="en-US"/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C0E46884-DD9D-CD4E-9BDC-82AD9E1336A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486400" y="279400"/>
            <a:ext cx="5753100" cy="7874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s edit Master tit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AE79B4C-9CAC-AA4D-9D66-C3705CECAC6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6512" y="495992"/>
            <a:ext cx="569228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00" baseline="0">
                <a:solidFill>
                  <a:schemeClr val="bg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53F09C74-2EDE-2E49-A3F3-46ACAAE98A3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86247" y="495992"/>
            <a:ext cx="3488042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50" baseline="0">
                <a:solidFill>
                  <a:schemeClr val="bg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DELOITTE DIGITAL</a:t>
            </a:r>
          </a:p>
        </p:txBody>
      </p:sp>
    </p:spTree>
    <p:extLst>
      <p:ext uri="{BB962C8B-B14F-4D97-AF65-F5344CB8AC3E}">
        <p14:creationId xmlns:p14="http://schemas.microsoft.com/office/powerpoint/2010/main" val="339902588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>
            <a:extLst>
              <a:ext uri="{FF2B5EF4-FFF2-40B4-BE49-F238E27FC236}">
                <a16:creationId xmlns:a16="http://schemas.microsoft.com/office/drawing/2014/main" id="{C9EABB5E-0115-4CF8-837F-0CC61A9F91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tr-TR"/>
              <a:t>Asıl başlık stilini düzenlemek için tıklayın</a:t>
            </a:r>
            <a:endParaRPr lang="en-US"/>
          </a:p>
        </p:txBody>
      </p:sp>
      <p:sp>
        <p:nvSpPr>
          <p:cNvPr id="3" name="Dikey Metin Yer Tutucusu 2">
            <a:extLst>
              <a:ext uri="{FF2B5EF4-FFF2-40B4-BE49-F238E27FC236}">
                <a16:creationId xmlns:a16="http://schemas.microsoft.com/office/drawing/2014/main" id="{41DFF9FF-A4C8-4C5B-9416-9C33593D25C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  <a:endParaRPr lang="en-US"/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E1D9673C-B2C3-4F31-A10A-E574126F8D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7D5679-8147-4208-AAA0-2764F0861D10}" type="datetimeFigureOut">
              <a:rPr lang="en-US" smtClean="0"/>
              <a:t>12/11/2021</a:t>
            </a:fld>
            <a:endParaRPr lang="en-US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19119544-8036-4908-A736-C7FF35FCA4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3194392E-C010-4928-9634-26F8353CA2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4941B-0C0C-4015-80F4-71582E9B4E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3420681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timizing - 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20A726E-A247-6A4B-9873-8596EBCDEF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4" y="1785"/>
            <a:ext cx="12185651" cy="6854429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E68383-C5C9-0C41-8944-BDC21381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3344276"/>
            <a:ext cx="4038600" cy="1628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3200" b="0" i="0">
                <a:solidFill>
                  <a:srgbClr val="009A4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Here, it’s just a headline that </a:t>
            </a:r>
            <a:br>
              <a:rPr lang="en-US"/>
            </a:br>
            <a:r>
              <a:rPr lang="en-US"/>
              <a:t>goes here as usua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A75483-02C0-EA47-8719-DFFC81B8B4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970" y="2631074"/>
            <a:ext cx="1892300" cy="374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>
            <a:lvl1pPr marL="0" indent="0">
              <a:buFontTx/>
              <a:buNone/>
              <a:defRPr sz="1400" b="0" i="0" spc="50" baseline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Month, XX 2021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0F42A91-1B0E-FA49-9161-0DAE0A80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5235575"/>
            <a:ext cx="4038600" cy="263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hort subhead can live here if needed but one lin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395DF35-8341-1E4D-B9E3-7AE4D85E1F5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14400" y="5876071"/>
            <a:ext cx="862293" cy="399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263625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form - 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D6643F2-4F6C-C54B-96F8-00424113F8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E68383-C5C9-0C41-8944-BDC21381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3344276"/>
            <a:ext cx="4038600" cy="1628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3200" b="0" i="0">
                <a:solidFill>
                  <a:srgbClr val="009A4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Here, it’s just a headline that goes here as usua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A75483-02C0-EA47-8719-DFFC81B8B4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970" y="2631074"/>
            <a:ext cx="1892300" cy="374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>
            <a:lvl1pPr marL="0" indent="0">
              <a:buFontTx/>
              <a:buNone/>
              <a:defRPr sz="1400" b="0" i="0" spc="50" baseline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Month, XX 2021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0F42A91-1B0E-FA49-9161-0DAE0A80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5235575"/>
            <a:ext cx="4038600" cy="263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hort subhead can live here if needed but one 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14904BE-0D65-984A-8268-0D101D37F8E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14400" y="5876071"/>
            <a:ext cx="862293" cy="399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04564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form - 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20A726E-A247-6A4B-9873-8596EBCDEF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3" y="1785"/>
            <a:ext cx="12185653" cy="6854430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E68383-C5C9-0C41-8944-BDC21381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3344276"/>
            <a:ext cx="4038600" cy="1628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3200" b="0" i="0">
                <a:solidFill>
                  <a:srgbClr val="009A4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Here, it’s just a headline that goes here as usua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A75483-02C0-EA47-8719-DFFC81B8B4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970" y="2631074"/>
            <a:ext cx="1892300" cy="374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>
            <a:lvl1pPr marL="0" indent="0">
              <a:buFontTx/>
              <a:buNone/>
              <a:defRPr sz="1400" b="0" i="0" spc="50" baseline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Month, XX 2021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0F42A91-1B0E-FA49-9161-0DAE0A80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5235575"/>
            <a:ext cx="4038600" cy="263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hort subhead can live here if needed but one lin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EEF8F5D-E716-944F-859F-93EA951AB43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14400" y="5876071"/>
            <a:ext cx="862293" cy="399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88534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form - 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539DBCD-8DBE-DC40-817C-6C0188C536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E68383-C5C9-0C41-8944-BDC21381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3344276"/>
            <a:ext cx="4038600" cy="1628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3200" b="0" i="0">
                <a:solidFill>
                  <a:srgbClr val="009A4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Here, it’s just a headline that goes here as usua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A75483-02C0-EA47-8719-DFFC81B8B4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970" y="2631074"/>
            <a:ext cx="1892300" cy="374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>
            <a:lvl1pPr marL="0" indent="0">
              <a:buFontTx/>
              <a:buNone/>
              <a:defRPr sz="1400" b="0" i="0" spc="50" baseline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Month, XX 2021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0F42A91-1B0E-FA49-9161-0DAE0A80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5235575"/>
            <a:ext cx="4038600" cy="263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hort subhead can live here if needed but one 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1659837-6E6C-FB4B-95CA-A8BF8F9DE02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14400" y="5876071"/>
            <a:ext cx="862293" cy="399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25135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form - 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0B5C52B-A803-3748-B886-F76724C3C5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E68383-C5C9-0C41-8944-BDC21381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3344276"/>
            <a:ext cx="4038600" cy="1628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3200" b="0" i="0">
                <a:solidFill>
                  <a:srgbClr val="009A4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Here, it’s just a headline that goes here as usua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A75483-02C0-EA47-8719-DFFC81B8B4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970" y="2631074"/>
            <a:ext cx="1892300" cy="374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>
            <a:lvl1pPr marL="0" indent="0">
              <a:buFontTx/>
              <a:buNone/>
              <a:defRPr sz="1400" b="0" i="0" spc="50" baseline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Month, XX 2021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0F42A91-1B0E-FA49-9161-0DAE0A80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5235575"/>
            <a:ext cx="4038600" cy="263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hort subhead can live here if needed but one lin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D7FD60D-1143-AB45-944E-9E11C8518A8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14400" y="5887593"/>
            <a:ext cx="858282" cy="395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70323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levate - 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03EE451-D325-7C4C-B94A-0B927428C6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E68383-C5C9-0C41-8944-BDC21381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3344276"/>
            <a:ext cx="4038600" cy="1628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3200" b="0" i="0">
                <a:solidFill>
                  <a:srgbClr val="009A4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Here, it’s just a headline that goes here as usua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A75483-02C0-EA47-8719-DFFC81B8B4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970" y="2631074"/>
            <a:ext cx="1892300" cy="374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>
            <a:lvl1pPr marL="0" indent="0">
              <a:buFontTx/>
              <a:buNone/>
              <a:defRPr sz="1400" b="0" i="0" spc="50" baseline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Month, XX 2021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0F42A91-1B0E-FA49-9161-0DAE0A80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5235575"/>
            <a:ext cx="4038600" cy="263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hort subhead can live here if needed but one lin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2207408-68DD-E245-B3D9-C8A9FB7CCBF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14400" y="5876071"/>
            <a:ext cx="862293" cy="399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82130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levate - 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D6643F2-4F6C-C54B-96F8-00424113F8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E68383-C5C9-0C41-8944-BDC21381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3344276"/>
            <a:ext cx="4038600" cy="1628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3200" b="0" i="0">
                <a:solidFill>
                  <a:srgbClr val="009A4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Here, it’s just a headline that goes here as usua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A75483-02C0-EA47-8719-DFFC81B8B4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970" y="2631074"/>
            <a:ext cx="1892300" cy="374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>
            <a:lvl1pPr marL="0" indent="0">
              <a:buFontTx/>
              <a:buNone/>
              <a:defRPr sz="1400" b="0" i="0" spc="50" baseline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Month, XX 2021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0F42A91-1B0E-FA49-9161-0DAE0A80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5235575"/>
            <a:ext cx="4038600" cy="263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hort subhead can live here if needed but one 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3A18FDD-A074-F14A-B22D-2C7E927F0F7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14400" y="5876071"/>
            <a:ext cx="862293" cy="399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62111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levate - 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20A726E-A247-6A4B-9873-8596EBCDEF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3" y="1785"/>
            <a:ext cx="12185653" cy="6854429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E68383-C5C9-0C41-8944-BDC21381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3344276"/>
            <a:ext cx="4038600" cy="1628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3200" b="0" i="0">
                <a:solidFill>
                  <a:srgbClr val="009A4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Here, it’s just a headline that goes here as usua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A75483-02C0-EA47-8719-DFFC81B8B4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970" y="2631074"/>
            <a:ext cx="1892300" cy="374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>
            <a:lvl1pPr marL="0" indent="0">
              <a:buFontTx/>
              <a:buNone/>
              <a:defRPr sz="1400" b="0" i="0" spc="50" baseline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Month, XX 2021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0F42A91-1B0E-FA49-9161-0DAE0A80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5235575"/>
            <a:ext cx="4038600" cy="263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hort subhead can live here if needed but one lin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7A8D249-577B-3C4D-ACCD-8ABC389EE53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14400" y="5876071"/>
            <a:ext cx="862293" cy="399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92345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4F96CBE8-4D51-4C14-B631-73F35A9D54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  <a:endParaRPr lang="en-US"/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A2F60BB4-D465-4236-921E-CAFC5241CF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  <a:endParaRPr lang="en-US"/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08E3D560-A0D2-4E87-B25F-12B0BFCBD0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7D5679-8147-4208-AAA0-2764F0861D10}" type="datetimeFigureOut">
              <a:rPr lang="en-US" smtClean="0"/>
              <a:t>12/11/2021</a:t>
            </a:fld>
            <a:endParaRPr lang="en-US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A925D983-9D15-436B-BB5F-2A31C616FC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6CE7390A-1528-44BC-99DA-D4174D1A1E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4941B-0C0C-4015-80F4-71582E9B4E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5426610"/>
      </p:ext>
    </p:extLst>
  </p:cSld>
  <p:clrMapOvr>
    <a:masterClrMapping/>
  </p:clrMapOvr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levate - 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539DBCD-8DBE-DC40-817C-6C0188C536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E68383-C5C9-0C41-8944-BDC21381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3344276"/>
            <a:ext cx="4038600" cy="1628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3200" b="0" i="0">
                <a:solidFill>
                  <a:srgbClr val="009A4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Here, it’s just a headline that goes here as usua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A75483-02C0-EA47-8719-DFFC81B8B4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970" y="2631074"/>
            <a:ext cx="1892300" cy="374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>
            <a:lvl1pPr marL="0" indent="0">
              <a:buFontTx/>
              <a:buNone/>
              <a:defRPr sz="1400" b="0" i="0" spc="50" baseline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Month, XX 2021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0F42A91-1B0E-FA49-9161-0DAE0A80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5235575"/>
            <a:ext cx="4038600" cy="263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hort subhead can live here if needed but one 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91030B7-BD1B-C040-A89A-BC2B89402CE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14400" y="5876071"/>
            <a:ext cx="862293" cy="399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52486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levate - 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0B5C52B-A803-3748-B886-F76724C3C5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E68383-C5C9-0C41-8944-BDC21381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3344276"/>
            <a:ext cx="4038600" cy="1628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3200" b="0" i="0">
                <a:solidFill>
                  <a:srgbClr val="009A4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Here, it’s just a headline that goes here as usua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A75483-02C0-EA47-8719-DFFC81B8B4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970" y="2631074"/>
            <a:ext cx="1892300" cy="374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>
            <a:lvl1pPr marL="0" indent="0">
              <a:buFontTx/>
              <a:buNone/>
              <a:defRPr sz="1400" b="0" i="0" spc="50" baseline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Month, XX 2021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0F42A91-1B0E-FA49-9161-0DAE0A80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5235575"/>
            <a:ext cx="4038600" cy="263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hort subhead can live here if needed but one lin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D2363B5-AA27-8E4C-96A7-8340A9A4346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14400" y="5887593"/>
            <a:ext cx="858282" cy="395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943130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mizing - 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03EE451-D325-7C4C-B94A-0B927428C6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E68383-C5C9-0C41-8944-BDC21381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3344276"/>
            <a:ext cx="4038600" cy="1628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3200" b="0" i="0">
                <a:solidFill>
                  <a:srgbClr val="009A4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Here, it’s just a headline that </a:t>
            </a:r>
            <a:br>
              <a:rPr lang="en-US"/>
            </a:br>
            <a:r>
              <a:rPr lang="en-US"/>
              <a:t>goes here as usua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A75483-02C0-EA47-8719-DFFC81B8B4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970" y="2631074"/>
            <a:ext cx="1892300" cy="374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>
            <a:lvl1pPr marL="0" indent="0">
              <a:buFontTx/>
              <a:buNone/>
              <a:defRPr sz="1400" b="0" i="0" spc="50" baseline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Month, XX 2021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0F42A91-1B0E-FA49-9161-0DAE0A80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5235575"/>
            <a:ext cx="4038600" cy="263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hort subhead can live here if needed but one lin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1F85497-DA60-4D46-A05A-882DBDE75D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14400" y="5876071"/>
            <a:ext cx="862293" cy="399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986458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mizing - 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D6643F2-4F6C-C54B-96F8-00424113F8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E68383-C5C9-0C41-8944-BDC21381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3344276"/>
            <a:ext cx="4038600" cy="1628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3200" b="0" i="0">
                <a:solidFill>
                  <a:srgbClr val="009A4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Here, it’s just a headline that </a:t>
            </a:r>
            <a:br>
              <a:rPr lang="en-US"/>
            </a:br>
            <a:r>
              <a:rPr lang="en-US"/>
              <a:t>goes here as usua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A75483-02C0-EA47-8719-DFFC81B8B4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970" y="2631074"/>
            <a:ext cx="1892300" cy="374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>
            <a:lvl1pPr marL="0" indent="0">
              <a:buFontTx/>
              <a:buNone/>
              <a:defRPr sz="1400" b="0" i="0" spc="50" baseline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Month, XX 2021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0F42A91-1B0E-FA49-9161-0DAE0A80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5235575"/>
            <a:ext cx="4038600" cy="263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hort subhead can live here if needed but one 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2592600-C106-F447-BD15-FB67EE05DB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14400" y="5876071"/>
            <a:ext cx="862293" cy="399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931151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mizing - 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539DBCD-8DBE-DC40-817C-6C0188C536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E68383-C5C9-0C41-8944-BDC21381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3344276"/>
            <a:ext cx="4038600" cy="1628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3200" b="0" i="0">
                <a:solidFill>
                  <a:srgbClr val="009A4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Here, it’s just a headline that </a:t>
            </a:r>
            <a:br>
              <a:rPr lang="en-US"/>
            </a:br>
            <a:r>
              <a:rPr lang="en-US"/>
              <a:t>goes here as usua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A75483-02C0-EA47-8719-DFFC81B8B4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970" y="2631074"/>
            <a:ext cx="1892300" cy="374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>
            <a:lvl1pPr marL="0" indent="0">
              <a:buFontTx/>
              <a:buNone/>
              <a:defRPr sz="1400" b="0" i="0" spc="50" baseline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Month, XX 2021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0F42A91-1B0E-FA49-9161-0DAE0A80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5235575"/>
            <a:ext cx="4038600" cy="263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hort subhead can live here if needed but one 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019EBFA-FB16-544A-B53A-6E3E1C8EDEB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14400" y="5876071"/>
            <a:ext cx="862293" cy="399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27963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mizing - 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0B5C52B-A803-3748-B886-F76724C3C5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E68383-C5C9-0C41-8944-BDC21381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3344276"/>
            <a:ext cx="4038600" cy="1628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3200" b="0" i="0">
                <a:solidFill>
                  <a:srgbClr val="009A4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Here, it’s just a headline that </a:t>
            </a:r>
            <a:br>
              <a:rPr lang="en-US"/>
            </a:br>
            <a:r>
              <a:rPr lang="en-US"/>
              <a:t>goes here as usua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A75483-02C0-EA47-8719-DFFC81B8B4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970" y="2631074"/>
            <a:ext cx="1892300" cy="374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>
            <a:lvl1pPr marL="0" indent="0">
              <a:buFontTx/>
              <a:buNone/>
              <a:defRPr sz="1400" b="0" i="0" spc="50" baseline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Month, XX 2021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0F42A91-1B0E-FA49-9161-0DAE0A80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5235575"/>
            <a:ext cx="4038600" cy="263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hort subhead can live here if needed but one lin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3FEC945-721E-A94F-AE4A-6290DE9BED4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14400" y="5887593"/>
            <a:ext cx="858282" cy="395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563464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rness - 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03EE451-D325-7C4C-B94A-0B927428C6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E68383-C5C9-0C41-8944-BDC21381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3344276"/>
            <a:ext cx="4038600" cy="1628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3200" b="0" i="0">
                <a:solidFill>
                  <a:srgbClr val="009A4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Here, it’s just a headline that </a:t>
            </a:r>
            <a:br>
              <a:rPr lang="en-US"/>
            </a:br>
            <a:r>
              <a:rPr lang="en-US"/>
              <a:t>goes here as usua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A75483-02C0-EA47-8719-DFFC81B8B4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970" y="2631074"/>
            <a:ext cx="1892300" cy="374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>
            <a:lvl1pPr marL="0" indent="0">
              <a:buFontTx/>
              <a:buNone/>
              <a:defRPr sz="1400" b="0" i="0" spc="50" baseline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Month, XX 2021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0F42A91-1B0E-FA49-9161-0DAE0A80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5235575"/>
            <a:ext cx="4038600" cy="263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hort subhead can live here if needed but one lin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1A1C43D-B7C7-F346-818A-95F8CE860B7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14400" y="5876071"/>
            <a:ext cx="862293" cy="399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206613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rness - 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D6643F2-4F6C-C54B-96F8-00424113F8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E68383-C5C9-0C41-8944-BDC21381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3344276"/>
            <a:ext cx="4038600" cy="1628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3200" b="0" i="0">
                <a:solidFill>
                  <a:srgbClr val="009A4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Here, it’s just a headline that </a:t>
            </a:r>
            <a:br>
              <a:rPr lang="en-US"/>
            </a:br>
            <a:r>
              <a:rPr lang="en-US"/>
              <a:t>goes here as usua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A75483-02C0-EA47-8719-DFFC81B8B4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970" y="2631074"/>
            <a:ext cx="1892300" cy="374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>
            <a:lvl1pPr marL="0" indent="0">
              <a:buFontTx/>
              <a:buNone/>
              <a:defRPr sz="1400" b="0" i="0" spc="50" baseline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Month, XX 2021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0F42A91-1B0E-FA49-9161-0DAE0A80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5235575"/>
            <a:ext cx="4038600" cy="263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hort subhead can live here if needed but one 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3CD9E76-C7E7-0847-8B42-55124A47518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14400" y="5876071"/>
            <a:ext cx="862293" cy="399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20928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rness - 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20A726E-A247-6A4B-9873-8596EBCDEF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4" y="1785"/>
            <a:ext cx="12185651" cy="6854428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E68383-C5C9-0C41-8944-BDC21381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3344276"/>
            <a:ext cx="4038600" cy="1628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3200" b="0" i="0">
                <a:solidFill>
                  <a:srgbClr val="009A4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Here, it’s just a headline that </a:t>
            </a:r>
            <a:br>
              <a:rPr lang="en-US"/>
            </a:br>
            <a:r>
              <a:rPr lang="en-US"/>
              <a:t>goes here as usua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A75483-02C0-EA47-8719-DFFC81B8B4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970" y="2631074"/>
            <a:ext cx="1892300" cy="374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>
            <a:lvl1pPr marL="0" indent="0">
              <a:buFontTx/>
              <a:buNone/>
              <a:defRPr sz="1400" b="0" i="0" spc="50" baseline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Month, XX 2021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0F42A91-1B0E-FA49-9161-0DAE0A80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5235575"/>
            <a:ext cx="4038600" cy="263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hort subhead can live here if needed but one lin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BE5300A-C0E4-0141-A3BD-71E73B6C88B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14400" y="5876071"/>
            <a:ext cx="862293" cy="399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4554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rness - 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539DBCD-8DBE-DC40-817C-6C0188C536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E68383-C5C9-0C41-8944-BDC21381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3344276"/>
            <a:ext cx="4038600" cy="1628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3200" b="0" i="0">
                <a:solidFill>
                  <a:srgbClr val="009A4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Here, it’s just a headline that </a:t>
            </a:r>
            <a:br>
              <a:rPr lang="en-US"/>
            </a:br>
            <a:r>
              <a:rPr lang="en-US"/>
              <a:t>goes here as usua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A75483-02C0-EA47-8719-DFFC81B8B4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970" y="2631074"/>
            <a:ext cx="1892300" cy="374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>
            <a:lvl1pPr marL="0" indent="0">
              <a:buFontTx/>
              <a:buNone/>
              <a:defRPr sz="1400" b="0" i="0" spc="50" baseline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Month, XX 2021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0F42A91-1B0E-FA49-9161-0DAE0A80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5235575"/>
            <a:ext cx="4038600" cy="263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hort subhead can live here if needed but one 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B3453A2-A23A-504B-866D-9EDA9EB5FA2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14400" y="5876071"/>
            <a:ext cx="862293" cy="399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42764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 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D9F25633-050B-4C5F-89CE-BC9BF5FC98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tr-TR"/>
              <a:t>Asıl başlık stilini düzenlemek için tıklayın</a:t>
            </a:r>
            <a:endParaRPr lang="en-US"/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9CCE68CC-61EA-4EB6-8D12-DD29325AED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26781A14-6201-41E2-920F-9CC7A31ADB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7D5679-8147-4208-AAA0-2764F0861D10}" type="datetimeFigureOut">
              <a:rPr lang="en-US" smtClean="0"/>
              <a:t>12/11/2021</a:t>
            </a:fld>
            <a:endParaRPr lang="en-US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7BC8A62B-B8D6-4315-AB2D-2FA8C050D8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EBF8BFA0-0C84-41C5-B906-344DA71901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4941B-0C0C-4015-80F4-71582E9B4E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3024122"/>
      </p:ext>
    </p:extLst>
  </p:cSld>
  <p:clrMapOvr>
    <a:masterClrMapping/>
  </p:clrMapOvr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rness - 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0B5C52B-A803-3748-B886-F76724C3C5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E68383-C5C9-0C41-8944-BDC21381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3344276"/>
            <a:ext cx="4038600" cy="1628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3200" b="0" i="0">
                <a:solidFill>
                  <a:srgbClr val="009A4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Here, it’s just a headline that </a:t>
            </a:r>
            <a:br>
              <a:rPr lang="en-US"/>
            </a:br>
            <a:r>
              <a:rPr lang="en-US"/>
              <a:t>goes here as usua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A75483-02C0-EA47-8719-DFFC81B8B4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970" y="2631074"/>
            <a:ext cx="1892300" cy="374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>
            <a:lvl1pPr marL="0" indent="0">
              <a:buFontTx/>
              <a:buNone/>
              <a:defRPr sz="1400" b="0" i="0" spc="50" baseline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Month, XX 2021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0F42A91-1B0E-FA49-9161-0DAE0A80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5235575"/>
            <a:ext cx="4038600" cy="263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hort subhead can live here if needed but one lin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8F66B8A-43CE-B24A-A778-0921C5B41E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14400" y="5887593"/>
            <a:ext cx="858282" cy="395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23024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wth - 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03EE451-D325-7C4C-B94A-0B927428C6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E68383-C5C9-0C41-8944-BDC21381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3344276"/>
            <a:ext cx="4038600" cy="1628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3200" b="0" i="0">
                <a:solidFill>
                  <a:srgbClr val="009A4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Here, it’s just a headline that </a:t>
            </a:r>
            <a:br>
              <a:rPr lang="en-US"/>
            </a:br>
            <a:r>
              <a:rPr lang="en-US"/>
              <a:t>goes here as usua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A75483-02C0-EA47-8719-DFFC81B8B4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970" y="2631074"/>
            <a:ext cx="1892300" cy="374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>
            <a:lvl1pPr marL="0" indent="0">
              <a:buFontTx/>
              <a:buNone/>
              <a:defRPr sz="1400" b="0" i="0" spc="50" baseline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Month, XX 2021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0F42A91-1B0E-FA49-9161-0DAE0A80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5235575"/>
            <a:ext cx="4038600" cy="263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hort subhead can live here if needed but one lin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8B505E5-FCAC-2248-BDA5-DD4A7ADE809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14400" y="5876071"/>
            <a:ext cx="862293" cy="399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55252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wth - 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D6643F2-4F6C-C54B-96F8-00424113F8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E68383-C5C9-0C41-8944-BDC21381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3344276"/>
            <a:ext cx="4038600" cy="1628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3200" b="0" i="0">
                <a:solidFill>
                  <a:srgbClr val="009A4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Here, it’s just a headline that </a:t>
            </a:r>
            <a:br>
              <a:rPr lang="en-US"/>
            </a:br>
            <a:r>
              <a:rPr lang="en-US"/>
              <a:t>goes here as usua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A75483-02C0-EA47-8719-DFFC81B8B4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970" y="2631074"/>
            <a:ext cx="1892300" cy="374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>
            <a:lvl1pPr marL="0" indent="0">
              <a:buFontTx/>
              <a:buNone/>
              <a:defRPr sz="1400" b="0" i="0" spc="50" baseline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Month, XX 2021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0F42A91-1B0E-FA49-9161-0DAE0A80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5235575"/>
            <a:ext cx="4038600" cy="263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hort subhead can live here if needed but one 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E56A145-2888-2E45-BCC3-9B198424FE2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14400" y="5876071"/>
            <a:ext cx="862293" cy="399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93733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wth - 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20A726E-A247-6A4B-9873-8596EBCDEF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5" y="1785"/>
            <a:ext cx="12185649" cy="6854428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E68383-C5C9-0C41-8944-BDC21381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3344276"/>
            <a:ext cx="4038600" cy="1628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3200" b="0" i="0">
                <a:solidFill>
                  <a:srgbClr val="009A4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Here, it’s just a headline that </a:t>
            </a:r>
            <a:br>
              <a:rPr lang="en-US"/>
            </a:br>
            <a:r>
              <a:rPr lang="en-US"/>
              <a:t>goes here as usua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A75483-02C0-EA47-8719-DFFC81B8B4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970" y="2631074"/>
            <a:ext cx="1892300" cy="374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>
            <a:lvl1pPr marL="0" indent="0">
              <a:buFontTx/>
              <a:buNone/>
              <a:defRPr sz="1400" b="0" i="0" spc="50" baseline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Month, XX 2021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0F42A91-1B0E-FA49-9161-0DAE0A80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5235575"/>
            <a:ext cx="4038600" cy="263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hort subhead can live here if needed but one lin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5284F5E-B46A-904A-A72E-50D51C5B5E3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14400" y="5876071"/>
            <a:ext cx="862293" cy="399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50361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wth - 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539DBCD-8DBE-DC40-817C-6C0188C536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E68383-C5C9-0C41-8944-BDC21381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3344276"/>
            <a:ext cx="4038600" cy="1628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3200" b="0" i="0">
                <a:solidFill>
                  <a:srgbClr val="009A4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Here, it’s just a headline that </a:t>
            </a:r>
            <a:br>
              <a:rPr lang="en-US"/>
            </a:br>
            <a:r>
              <a:rPr lang="en-US"/>
              <a:t>goes here as usua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A75483-02C0-EA47-8719-DFFC81B8B4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970" y="2631074"/>
            <a:ext cx="1892300" cy="374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>
            <a:lvl1pPr marL="0" indent="0">
              <a:buFontTx/>
              <a:buNone/>
              <a:defRPr sz="1400" b="0" i="0" spc="50" baseline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Month, XX 2021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0F42A91-1B0E-FA49-9161-0DAE0A80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5235575"/>
            <a:ext cx="4038600" cy="263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hort subhead can live here if needed but one 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E4DDEF7-CAAE-5B4F-BD8E-DD7C337EB80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14400" y="5876071"/>
            <a:ext cx="862293" cy="399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57222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wth - 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0B5C52B-A803-3748-B886-F76724C3C5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E68383-C5C9-0C41-8944-BDC21381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3344276"/>
            <a:ext cx="4038600" cy="1628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3200" b="0" i="0">
                <a:solidFill>
                  <a:srgbClr val="009A4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Here, it’s just a headline that </a:t>
            </a:r>
            <a:br>
              <a:rPr lang="en-US"/>
            </a:br>
            <a:r>
              <a:rPr lang="en-US"/>
              <a:t>goes here as usua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A75483-02C0-EA47-8719-DFFC81B8B4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970" y="2631074"/>
            <a:ext cx="1892300" cy="374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>
            <a:lvl1pPr marL="0" indent="0">
              <a:buFontTx/>
              <a:buNone/>
              <a:defRPr sz="1400" b="0" i="0" spc="50" baseline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Month, XX 2021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0F42A91-1B0E-FA49-9161-0DAE0A80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5235575"/>
            <a:ext cx="4038600" cy="263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hort subhead can live here if needed but one lin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B96BA5-FA64-564F-A356-7A59AB44679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14400" y="5887593"/>
            <a:ext cx="858282" cy="395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778120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levate - Divider -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0B0544B-A174-9F40-9B55-C6994533D7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C807EA8-8E8B-5046-BDF1-48EB1A64E69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11327" y="584904"/>
            <a:ext cx="821824" cy="37829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CD51EFA-C4C5-204D-808D-DD5E3FAD0407}"/>
              </a:ext>
            </a:extLst>
          </p:cNvPr>
          <p:cNvSpPr/>
          <p:nvPr userDrawn="1"/>
        </p:nvSpPr>
        <p:spPr bwMode="gray">
          <a:xfrm>
            <a:off x="0" y="3267182"/>
            <a:ext cx="4953000" cy="202400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9BC068A-0319-D24A-8237-15AC9DAAC7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9390" y="3443990"/>
            <a:ext cx="3519320" cy="162855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2800" b="0" i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Divider slide title goes here when needed</a:t>
            </a:r>
          </a:p>
        </p:txBody>
      </p:sp>
    </p:spTree>
    <p:extLst>
      <p:ext uri="{BB962C8B-B14F-4D97-AF65-F5344CB8AC3E}">
        <p14:creationId xmlns:p14="http://schemas.microsoft.com/office/powerpoint/2010/main" val="187254008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wth - Divider -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A93A6FB-0FE8-F241-8F8F-3F5CCC7B7F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1EC3769-1DB4-F24A-8C8B-52858EE8A580}"/>
              </a:ext>
            </a:extLst>
          </p:cNvPr>
          <p:cNvSpPr/>
          <p:nvPr userDrawn="1"/>
        </p:nvSpPr>
        <p:spPr bwMode="gray">
          <a:xfrm>
            <a:off x="0" y="3267182"/>
            <a:ext cx="4953000" cy="202400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E68383-C5C9-0C41-8944-BDC21381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9390" y="3443990"/>
            <a:ext cx="3519320" cy="162855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2800" b="0" i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Divider slide title goes here when neede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CF3186D-03C7-9743-857F-03F427DC3F2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11327" y="584904"/>
            <a:ext cx="821824" cy="378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61964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wth - Divider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87F5B36-B7DD-3E4D-BBE0-144A9D3A19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E68383-C5C9-0C41-8944-BDC21381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9390" y="3443990"/>
            <a:ext cx="4099810" cy="1628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3200" b="0" i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Divider slide title goes here when neede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C3B3A02-D9CD-6A4A-B510-5B05199D88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11327" y="584904"/>
            <a:ext cx="821824" cy="378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39924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wth - Divider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8029A79-F7FF-3144-B244-1C91707351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16DFA96C-504E-4F4D-BE84-116C0EB6D117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E68383-C5C9-0C41-8944-BDC21381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9390" y="3443990"/>
            <a:ext cx="4099810" cy="1628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3200" b="0" i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Divider slide title goes here when neede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6E8AD71-BB4F-0F46-873D-2792C2C487D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11327" y="584904"/>
            <a:ext cx="821824" cy="378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98910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03543076-1323-4336-904A-CA83F727C5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  <a:endParaRPr lang="en-US"/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F8A0C3B3-AE3F-49A5-AFDD-3DA45C5D1E5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  <a:endParaRPr lang="en-US"/>
          </a:p>
        </p:txBody>
      </p:sp>
      <p:sp>
        <p:nvSpPr>
          <p:cNvPr id="4" name="İçerik Yer Tutucusu 3">
            <a:extLst>
              <a:ext uri="{FF2B5EF4-FFF2-40B4-BE49-F238E27FC236}">
                <a16:creationId xmlns:a16="http://schemas.microsoft.com/office/drawing/2014/main" id="{FDA078C8-89AB-47C6-BEE9-058558DF618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  <a:endParaRPr lang="en-US"/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1A21D18A-DBA2-43AE-8855-B7305D4124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7D5679-8147-4208-AAA0-2764F0861D10}" type="datetimeFigureOut">
              <a:rPr lang="en-US" smtClean="0"/>
              <a:t>12/11/2021</a:t>
            </a:fld>
            <a:endParaRPr lang="en-US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EF9282AD-EE9A-420A-A345-A4CAAB27A1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B6146DAD-A629-42F8-B102-5B1D2BE34C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4941B-0C0C-4015-80F4-71582E9B4E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4128647"/>
      </p:ext>
    </p:extLst>
  </p:cSld>
  <p:clrMapOvr>
    <a:masterClrMapping/>
  </p:clrMapOvr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rness - Divider -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1A95ADF-09EB-0F42-BD88-0316F08EC2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9AD52CB-CB83-6543-8D4A-B280FBCF7269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05D68AD-FD14-A647-8B5B-05BCFE7C87FF}"/>
              </a:ext>
            </a:extLst>
          </p:cNvPr>
          <p:cNvSpPr/>
          <p:nvPr userDrawn="1"/>
        </p:nvSpPr>
        <p:spPr bwMode="gray">
          <a:xfrm>
            <a:off x="0" y="3267182"/>
            <a:ext cx="4953000" cy="202400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2556D08-6C07-3D4D-8DB5-EA95AD022A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9390" y="3443990"/>
            <a:ext cx="3519320" cy="162855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2800" b="0" i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Divider slide title goes here when needed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13B07CB-D5A4-F34A-916E-B9014269866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25219" y="587823"/>
            <a:ext cx="813246" cy="374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78077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levate - Divider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26CAF41-7DDA-EA4A-A59B-2284ACBF28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9AD52CB-CB83-6543-8D4A-B280FBCF7269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E68383-C5C9-0C41-8944-BDC21381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9390" y="3443990"/>
            <a:ext cx="4099810" cy="1628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3200" b="0" i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Divider slide title goes here when needed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83F6415-14F0-7E40-AE11-05A72F51BC8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25219" y="587823"/>
            <a:ext cx="813246" cy="374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83480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mizing - Divider -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F022FF5-3680-7249-9BD4-BA046EF5C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2C9321F-FA47-8D43-A93E-5091C7960055}"/>
              </a:ext>
            </a:extLst>
          </p:cNvPr>
          <p:cNvSpPr/>
          <p:nvPr userDrawn="1"/>
        </p:nvSpPr>
        <p:spPr>
          <a:xfrm rot="10800000">
            <a:off x="0" y="1"/>
            <a:ext cx="12192000" cy="6858000"/>
          </a:xfrm>
          <a:prstGeom prst="rect">
            <a:avLst/>
          </a:prstGeom>
          <a:gradFill>
            <a:gsLst>
              <a:gs pos="0">
                <a:schemeClr val="tx1">
                  <a:alpha val="60000"/>
                </a:schemeClr>
              </a:gs>
              <a:gs pos="21000">
                <a:schemeClr val="tx1">
                  <a:alpha val="66000"/>
                </a:schemeClr>
              </a:gs>
              <a:gs pos="62000">
                <a:schemeClr val="tx1">
                  <a:lumMod val="0"/>
                  <a:alpha val="13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2DC82A1-6C9F-FC40-8B1E-DCAC3A704AF9}"/>
              </a:ext>
            </a:extLst>
          </p:cNvPr>
          <p:cNvSpPr/>
          <p:nvPr userDrawn="1"/>
        </p:nvSpPr>
        <p:spPr bwMode="gray">
          <a:xfrm>
            <a:off x="0" y="3267182"/>
            <a:ext cx="4953000" cy="202400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449059E-0623-0747-A79C-42DF5067DC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9390" y="3443990"/>
            <a:ext cx="3519320" cy="162855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2800" b="0" i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Divider slide title goes here when neede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96F9823-3BFC-0E4D-A809-A2CD33196E1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20038" y="587824"/>
            <a:ext cx="813246" cy="374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253554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form - Divider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9C73793-0700-8547-ACD9-2391F080C4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9AD52CB-CB83-6543-8D4A-B280FBCF7269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E68383-C5C9-0C41-8944-BDC21381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9390" y="3443990"/>
            <a:ext cx="4099810" cy="1628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3200" b="0" i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Divider slide title goes here when neede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5FA2A70-B403-4E4A-8896-17AB5A5C30B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20038" y="587824"/>
            <a:ext cx="813246" cy="374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48593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form - Divider -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188FED4-4C49-8A4C-864E-316E650AE2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9AD52CB-CB83-6543-8D4A-B280FBCF7269}"/>
              </a:ext>
            </a:extLst>
          </p:cNvPr>
          <p:cNvSpPr/>
          <p:nvPr userDrawn="1"/>
        </p:nvSpPr>
        <p:spPr>
          <a:xfrm rot="10800000">
            <a:off x="0" y="1"/>
            <a:ext cx="12192000" cy="6858000"/>
          </a:xfrm>
          <a:prstGeom prst="rect">
            <a:avLst/>
          </a:prstGeom>
          <a:gradFill>
            <a:gsLst>
              <a:gs pos="0">
                <a:schemeClr val="tx1">
                  <a:alpha val="24000"/>
                </a:schemeClr>
              </a:gs>
              <a:gs pos="21000">
                <a:schemeClr val="tx1">
                  <a:alpha val="66000"/>
                </a:schemeClr>
              </a:gs>
              <a:gs pos="62000">
                <a:schemeClr val="tx1">
                  <a:lumMod val="0"/>
                  <a:alpha val="33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0C68104-A8BB-DF43-8455-04A205845638}"/>
              </a:ext>
            </a:extLst>
          </p:cNvPr>
          <p:cNvSpPr/>
          <p:nvPr userDrawn="1"/>
        </p:nvSpPr>
        <p:spPr bwMode="gray">
          <a:xfrm>
            <a:off x="0" y="3267182"/>
            <a:ext cx="4953000" cy="202400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B21C92B-F300-8141-9D19-160B06EC8C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9390" y="3443990"/>
            <a:ext cx="3519320" cy="162855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2800" b="0" i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Divider slide title goes here when needed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74B752E-CBB5-384B-AAD8-4FA7E9DC840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20038" y="587824"/>
            <a:ext cx="813246" cy="374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91463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levate - Divider - Illustration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9C73793-0700-8547-ACD9-2391F080C4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DD44BB8-C7C7-FB4B-969F-D9B46DF3DAA2}"/>
              </a:ext>
            </a:extLst>
          </p:cNvPr>
          <p:cNvSpPr/>
          <p:nvPr userDrawn="1"/>
        </p:nvSpPr>
        <p:spPr bwMode="gray">
          <a:xfrm>
            <a:off x="0" y="3267182"/>
            <a:ext cx="4953000" cy="202400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87FA3AE7-7410-384B-9170-490344DC19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9390" y="3443990"/>
            <a:ext cx="3519320" cy="162855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2800" b="0" i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Divider slide title goes here when neede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AFCAC2C-C7D4-3744-92D3-10B43A7B780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11327" y="584904"/>
            <a:ext cx="821824" cy="378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124831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levate - Divider - Illustration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9C73793-0700-8547-ACD9-2391F080C4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DD44BB8-C7C7-FB4B-969F-D9B46DF3DAA2}"/>
              </a:ext>
            </a:extLst>
          </p:cNvPr>
          <p:cNvSpPr/>
          <p:nvPr userDrawn="1"/>
        </p:nvSpPr>
        <p:spPr bwMode="gray">
          <a:xfrm>
            <a:off x="0" y="3267182"/>
            <a:ext cx="4953000" cy="202400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87FA3AE7-7410-384B-9170-490344DC19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9390" y="3443990"/>
            <a:ext cx="3519320" cy="162855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2800" b="0" i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Divider slide title goes here when neede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DC6BBF7-02CC-7948-9BB4-428A3A6315D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11327" y="584904"/>
            <a:ext cx="821824" cy="378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770490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levate - Divider - Illustration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9C73793-0700-8547-ACD9-2391F080C4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DD44BB8-C7C7-FB4B-969F-D9B46DF3DAA2}"/>
              </a:ext>
            </a:extLst>
          </p:cNvPr>
          <p:cNvSpPr/>
          <p:nvPr userDrawn="1"/>
        </p:nvSpPr>
        <p:spPr bwMode="gray">
          <a:xfrm>
            <a:off x="0" y="3267182"/>
            <a:ext cx="4953000" cy="202400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87FA3AE7-7410-384B-9170-490344DC19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9390" y="3443990"/>
            <a:ext cx="3519320" cy="162855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2800" b="0" i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Divider slide title goes here when neede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02537A4-8012-FB43-9CA3-C766278AB85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11327" y="584904"/>
            <a:ext cx="821824" cy="378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27804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levate - Divider - Illustration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9C73793-0700-8547-ACD9-2391F080C4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DD44BB8-C7C7-FB4B-969F-D9B46DF3DAA2}"/>
              </a:ext>
            </a:extLst>
          </p:cNvPr>
          <p:cNvSpPr/>
          <p:nvPr userDrawn="1"/>
        </p:nvSpPr>
        <p:spPr bwMode="gray">
          <a:xfrm>
            <a:off x="0" y="3267182"/>
            <a:ext cx="4953000" cy="202400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87FA3AE7-7410-384B-9170-490344DC19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9390" y="3443990"/>
            <a:ext cx="3519320" cy="162855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2800" b="0" i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Divider slide title goes here when neede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7BA7414-952A-BB4B-A036-330D9DD152D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11327" y="584904"/>
            <a:ext cx="821824" cy="378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55438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form - Divider - Illustration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9C73793-0700-8547-ACD9-2391F080C4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DD44BB8-C7C7-FB4B-969F-D9B46DF3DAA2}"/>
              </a:ext>
            </a:extLst>
          </p:cNvPr>
          <p:cNvSpPr/>
          <p:nvPr userDrawn="1"/>
        </p:nvSpPr>
        <p:spPr bwMode="gray">
          <a:xfrm>
            <a:off x="0" y="3267182"/>
            <a:ext cx="4953000" cy="202400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87FA3AE7-7410-384B-9170-490344DC19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9390" y="3443990"/>
            <a:ext cx="3519320" cy="162855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2800" b="0" i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Divider slide title goes here when neede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959FC52-21E5-4D4C-9AA5-BEC955E3F32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11327" y="584904"/>
            <a:ext cx="821824" cy="378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95658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F735FFE2-7CA3-4066-80D6-C5B230EBC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tr-TR"/>
              <a:t>Asıl başlık stilini düzenlemek için tıklayın</a:t>
            </a:r>
            <a:endParaRPr lang="en-US"/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36FDC6F8-202E-4B8B-89CB-7F0265410C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4" name="İçerik Yer Tutucusu 3">
            <a:extLst>
              <a:ext uri="{FF2B5EF4-FFF2-40B4-BE49-F238E27FC236}">
                <a16:creationId xmlns:a16="http://schemas.microsoft.com/office/drawing/2014/main" id="{89050BA9-AEC2-4AAC-8E0C-8F9EB3BFB73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  <a:endParaRPr lang="en-US"/>
          </a:p>
        </p:txBody>
      </p:sp>
      <p:sp>
        <p:nvSpPr>
          <p:cNvPr id="5" name="Metin Yer Tutucusu 4">
            <a:extLst>
              <a:ext uri="{FF2B5EF4-FFF2-40B4-BE49-F238E27FC236}">
                <a16:creationId xmlns:a16="http://schemas.microsoft.com/office/drawing/2014/main" id="{1B374B7C-01AB-4843-A5E3-04A1B50555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6" name="İçerik Yer Tutucusu 5">
            <a:extLst>
              <a:ext uri="{FF2B5EF4-FFF2-40B4-BE49-F238E27FC236}">
                <a16:creationId xmlns:a16="http://schemas.microsoft.com/office/drawing/2014/main" id="{75B50759-A012-4FFA-883B-7EFEDA7B35E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  <a:endParaRPr lang="en-US"/>
          </a:p>
        </p:txBody>
      </p:sp>
      <p:sp>
        <p:nvSpPr>
          <p:cNvPr id="7" name="Veri Yer Tutucusu 6">
            <a:extLst>
              <a:ext uri="{FF2B5EF4-FFF2-40B4-BE49-F238E27FC236}">
                <a16:creationId xmlns:a16="http://schemas.microsoft.com/office/drawing/2014/main" id="{5E104ED5-A865-42A0-88CA-4F3E6CC5F6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7D5679-8147-4208-AAA0-2764F0861D10}" type="datetimeFigureOut">
              <a:rPr lang="en-US" smtClean="0"/>
              <a:t>12/11/2021</a:t>
            </a:fld>
            <a:endParaRPr lang="en-US"/>
          </a:p>
        </p:txBody>
      </p:sp>
      <p:sp>
        <p:nvSpPr>
          <p:cNvPr id="8" name="Alt Bilgi Yer Tutucusu 7">
            <a:extLst>
              <a:ext uri="{FF2B5EF4-FFF2-40B4-BE49-F238E27FC236}">
                <a16:creationId xmlns:a16="http://schemas.microsoft.com/office/drawing/2014/main" id="{C69FB3D5-468B-435B-A03B-A2690F5C62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ayt Numarası Yer Tutucusu 8">
            <a:extLst>
              <a:ext uri="{FF2B5EF4-FFF2-40B4-BE49-F238E27FC236}">
                <a16:creationId xmlns:a16="http://schemas.microsoft.com/office/drawing/2014/main" id="{E124BD6C-6D9E-41CB-A424-4580B5837B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4941B-0C0C-4015-80F4-71582E9B4E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7956354"/>
      </p:ext>
    </p:extLst>
  </p:cSld>
  <p:clrMapOvr>
    <a:masterClrMapping/>
  </p:clrMapOvr>
  <p:hf hd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form - Divider - Illustration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9C73793-0700-8547-ACD9-2391F080C4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DD44BB8-C7C7-FB4B-969F-D9B46DF3DAA2}"/>
              </a:ext>
            </a:extLst>
          </p:cNvPr>
          <p:cNvSpPr/>
          <p:nvPr userDrawn="1"/>
        </p:nvSpPr>
        <p:spPr bwMode="gray">
          <a:xfrm>
            <a:off x="0" y="3267182"/>
            <a:ext cx="4953000" cy="202400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87FA3AE7-7410-384B-9170-490344DC19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9390" y="3443990"/>
            <a:ext cx="3519320" cy="162855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2800" b="0" i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Divider slide title goes here when neede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6D618A3-9CE6-1248-A6AA-0F7F6713A8D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11327" y="584904"/>
            <a:ext cx="821824" cy="378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45664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form - Divider - Illustration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9C73793-0700-8547-ACD9-2391F080C4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DD44BB8-C7C7-FB4B-969F-D9B46DF3DAA2}"/>
              </a:ext>
            </a:extLst>
          </p:cNvPr>
          <p:cNvSpPr/>
          <p:nvPr userDrawn="1"/>
        </p:nvSpPr>
        <p:spPr bwMode="gray">
          <a:xfrm>
            <a:off x="0" y="3267182"/>
            <a:ext cx="4953000" cy="202400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87FA3AE7-7410-384B-9170-490344DC19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9390" y="3443990"/>
            <a:ext cx="3519320" cy="162855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2800" b="0" i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Divider slide title goes here when neede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FC9B055-950D-A742-956E-42CF70F258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11327" y="584904"/>
            <a:ext cx="821824" cy="378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189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form - Divider - Illustration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9C73793-0700-8547-ACD9-2391F080C4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DD44BB8-C7C7-FB4B-969F-D9B46DF3DAA2}"/>
              </a:ext>
            </a:extLst>
          </p:cNvPr>
          <p:cNvSpPr/>
          <p:nvPr userDrawn="1"/>
        </p:nvSpPr>
        <p:spPr bwMode="gray">
          <a:xfrm>
            <a:off x="0" y="3267182"/>
            <a:ext cx="4953000" cy="202400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87FA3AE7-7410-384B-9170-490344DC19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9390" y="3443990"/>
            <a:ext cx="3519320" cy="162855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2800" b="0" i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Divider slide title goes here when neede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5914F41-2BF8-C345-B0F9-EE9A8615728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11327" y="584904"/>
            <a:ext cx="821824" cy="378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671610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mizing - Divider - Illustration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9C73793-0700-8547-ACD9-2391F080C4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DD44BB8-C7C7-FB4B-969F-D9B46DF3DAA2}"/>
              </a:ext>
            </a:extLst>
          </p:cNvPr>
          <p:cNvSpPr/>
          <p:nvPr userDrawn="1"/>
        </p:nvSpPr>
        <p:spPr bwMode="gray">
          <a:xfrm>
            <a:off x="0" y="3267182"/>
            <a:ext cx="4953000" cy="202400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87FA3AE7-7410-384B-9170-490344DC19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9390" y="3443990"/>
            <a:ext cx="3519320" cy="162855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2800" b="0" i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Divider slide title goes here when neede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6CB3FFF-19C3-F34E-846B-20E5F82D6B1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11327" y="584904"/>
            <a:ext cx="821824" cy="378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07309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mizing - Divider - Illustration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9C73793-0700-8547-ACD9-2391F080C4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DD44BB8-C7C7-FB4B-969F-D9B46DF3DAA2}"/>
              </a:ext>
            </a:extLst>
          </p:cNvPr>
          <p:cNvSpPr/>
          <p:nvPr userDrawn="1"/>
        </p:nvSpPr>
        <p:spPr bwMode="gray">
          <a:xfrm>
            <a:off x="0" y="3267182"/>
            <a:ext cx="4953000" cy="202400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87FA3AE7-7410-384B-9170-490344DC19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9390" y="3443990"/>
            <a:ext cx="3519320" cy="162855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2800" b="0" i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Divider slide title goes here when neede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6E61B11-A58D-2240-A41D-2786FEEC5B9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11327" y="584904"/>
            <a:ext cx="821824" cy="378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5101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mizing - Divider - Illustration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9C73793-0700-8547-ACD9-2391F080C4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DD44BB8-C7C7-FB4B-969F-D9B46DF3DAA2}"/>
              </a:ext>
            </a:extLst>
          </p:cNvPr>
          <p:cNvSpPr/>
          <p:nvPr userDrawn="1"/>
        </p:nvSpPr>
        <p:spPr bwMode="gray">
          <a:xfrm>
            <a:off x="0" y="3267182"/>
            <a:ext cx="4953000" cy="202400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87FA3AE7-7410-384B-9170-490344DC19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9390" y="3443990"/>
            <a:ext cx="3519320" cy="162855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2800" b="0" i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Divider slide title goes here when neede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DC10D57-D939-F44A-A8FE-2313F85A706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11327" y="584904"/>
            <a:ext cx="821824" cy="378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19344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mizing - Divider - Illustration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9C73793-0700-8547-ACD9-2391F080C4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DD44BB8-C7C7-FB4B-969F-D9B46DF3DAA2}"/>
              </a:ext>
            </a:extLst>
          </p:cNvPr>
          <p:cNvSpPr/>
          <p:nvPr userDrawn="1"/>
        </p:nvSpPr>
        <p:spPr bwMode="gray">
          <a:xfrm>
            <a:off x="0" y="3267182"/>
            <a:ext cx="4953000" cy="202400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87FA3AE7-7410-384B-9170-490344DC19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9390" y="3443990"/>
            <a:ext cx="3519320" cy="162855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2800" b="0" i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Divider slide title goes here when neede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E0A8A04-63E7-6742-BC41-EA40B3D2072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11327" y="584904"/>
            <a:ext cx="821824" cy="378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06883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wth - Divider - Illustration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9C73793-0700-8547-ACD9-2391F080C4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DD44BB8-C7C7-FB4B-969F-D9B46DF3DAA2}"/>
              </a:ext>
            </a:extLst>
          </p:cNvPr>
          <p:cNvSpPr/>
          <p:nvPr userDrawn="1"/>
        </p:nvSpPr>
        <p:spPr bwMode="gray">
          <a:xfrm>
            <a:off x="0" y="3267182"/>
            <a:ext cx="4953000" cy="202400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87FA3AE7-7410-384B-9170-490344DC19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9390" y="3443990"/>
            <a:ext cx="3519320" cy="162855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2800" b="0" i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Divider slide title goes here when neede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3194B51-BAB2-574B-A993-424B322FAF4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11327" y="584904"/>
            <a:ext cx="821824" cy="378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50235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wth - Divider - Illustration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9C73793-0700-8547-ACD9-2391F080C4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DD44BB8-C7C7-FB4B-969F-D9B46DF3DAA2}"/>
              </a:ext>
            </a:extLst>
          </p:cNvPr>
          <p:cNvSpPr/>
          <p:nvPr userDrawn="1"/>
        </p:nvSpPr>
        <p:spPr bwMode="gray">
          <a:xfrm>
            <a:off x="0" y="3267182"/>
            <a:ext cx="4953000" cy="202400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87FA3AE7-7410-384B-9170-490344DC19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9390" y="3443990"/>
            <a:ext cx="3519320" cy="162855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2800" b="0" i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Divider slide title goes here when neede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6369383-D884-1242-B3CF-B8FB23DE055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11327" y="584904"/>
            <a:ext cx="821824" cy="378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169686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wth - Divider - Illustration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9C73793-0700-8547-ACD9-2391F080C4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DD44BB8-C7C7-FB4B-969F-D9B46DF3DAA2}"/>
              </a:ext>
            </a:extLst>
          </p:cNvPr>
          <p:cNvSpPr/>
          <p:nvPr userDrawn="1"/>
        </p:nvSpPr>
        <p:spPr bwMode="gray">
          <a:xfrm>
            <a:off x="0" y="3267182"/>
            <a:ext cx="4953000" cy="202400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87FA3AE7-7410-384B-9170-490344DC19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9390" y="3443990"/>
            <a:ext cx="3519320" cy="162855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2800" b="0" i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Divider slide title goes here when neede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1A33ED7-02C8-3B4C-A331-1CDB3ADEB4C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11327" y="584904"/>
            <a:ext cx="821824" cy="378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936604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9299B6E9-4109-4B8F-AA6A-17D17C9D8A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  <a:endParaRPr lang="en-US"/>
          </a:p>
        </p:txBody>
      </p:sp>
      <p:sp>
        <p:nvSpPr>
          <p:cNvPr id="3" name="Veri Yer Tutucusu 2">
            <a:extLst>
              <a:ext uri="{FF2B5EF4-FFF2-40B4-BE49-F238E27FC236}">
                <a16:creationId xmlns:a16="http://schemas.microsoft.com/office/drawing/2014/main" id="{2DFD4065-29D8-4C98-BD26-FCC01B62F6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7D5679-8147-4208-AAA0-2764F0861D10}" type="datetimeFigureOut">
              <a:rPr lang="en-US" smtClean="0"/>
              <a:t>12/11/2021</a:t>
            </a:fld>
            <a:endParaRPr lang="en-US"/>
          </a:p>
        </p:txBody>
      </p:sp>
      <p:sp>
        <p:nvSpPr>
          <p:cNvPr id="4" name="Alt Bilgi Yer Tutucusu 3">
            <a:extLst>
              <a:ext uri="{FF2B5EF4-FFF2-40B4-BE49-F238E27FC236}">
                <a16:creationId xmlns:a16="http://schemas.microsoft.com/office/drawing/2014/main" id="{8FDDDAB1-2949-446F-845B-F96EB14C8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ayt Numarası Yer Tutucusu 4">
            <a:extLst>
              <a:ext uri="{FF2B5EF4-FFF2-40B4-BE49-F238E27FC236}">
                <a16:creationId xmlns:a16="http://schemas.microsoft.com/office/drawing/2014/main" id="{4920C022-12C3-4A90-9A80-60B9075855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4941B-0C0C-4015-80F4-71582E9B4E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8788249"/>
      </p:ext>
    </p:extLst>
  </p:cSld>
  <p:clrMapOvr>
    <a:masterClrMapping/>
  </p:clrMapOvr>
  <p:hf hd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wth - Divider - Illustration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9C73793-0700-8547-ACD9-2391F080C4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DD44BB8-C7C7-FB4B-969F-D9B46DF3DAA2}"/>
              </a:ext>
            </a:extLst>
          </p:cNvPr>
          <p:cNvSpPr/>
          <p:nvPr userDrawn="1"/>
        </p:nvSpPr>
        <p:spPr bwMode="gray">
          <a:xfrm>
            <a:off x="0" y="3267182"/>
            <a:ext cx="4953000" cy="202400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87FA3AE7-7410-384B-9170-490344DC19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9390" y="3443990"/>
            <a:ext cx="3519320" cy="162855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2800" b="0" i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Divider slide title goes here when neede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DE74605-537F-8F40-8A6F-41B7F1E2024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11327" y="584904"/>
            <a:ext cx="821824" cy="378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77472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rness - Divider - Illustration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9C73793-0700-8547-ACD9-2391F080C4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DD44BB8-C7C7-FB4B-969F-D9B46DF3DAA2}"/>
              </a:ext>
            </a:extLst>
          </p:cNvPr>
          <p:cNvSpPr/>
          <p:nvPr userDrawn="1"/>
        </p:nvSpPr>
        <p:spPr bwMode="gray">
          <a:xfrm>
            <a:off x="0" y="3267182"/>
            <a:ext cx="4953000" cy="202400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87FA3AE7-7410-384B-9170-490344DC19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9390" y="3443990"/>
            <a:ext cx="3519320" cy="162855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2800" b="0" i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Divider slide title goes here when neede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68B9518-DFE1-3B45-A192-CB6C4246F6D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20038" y="587824"/>
            <a:ext cx="813246" cy="374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923728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rness - Divider - Illustration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9C73793-0700-8547-ACD9-2391F080C4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DD44BB8-C7C7-FB4B-969F-D9B46DF3DAA2}"/>
              </a:ext>
            </a:extLst>
          </p:cNvPr>
          <p:cNvSpPr/>
          <p:nvPr userDrawn="1"/>
        </p:nvSpPr>
        <p:spPr bwMode="gray">
          <a:xfrm>
            <a:off x="0" y="3267182"/>
            <a:ext cx="4953000" cy="202400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87FA3AE7-7410-384B-9170-490344DC19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9390" y="3443990"/>
            <a:ext cx="3519320" cy="162855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2800" b="0" i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Divider slide title goes here when neede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4C9ACB8-C0FB-3446-8390-79FFA6E229F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20038" y="587824"/>
            <a:ext cx="813246" cy="374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489281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rness - Divider - Illustration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9C73793-0700-8547-ACD9-2391F080C4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DD44BB8-C7C7-FB4B-969F-D9B46DF3DAA2}"/>
              </a:ext>
            </a:extLst>
          </p:cNvPr>
          <p:cNvSpPr/>
          <p:nvPr userDrawn="1"/>
        </p:nvSpPr>
        <p:spPr bwMode="gray">
          <a:xfrm>
            <a:off x="0" y="3267182"/>
            <a:ext cx="4953000" cy="202400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87FA3AE7-7410-384B-9170-490344DC19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9390" y="3443990"/>
            <a:ext cx="3519320" cy="162855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2800" b="0" i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Divider slide title goes here when neede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1F3C0B-DFCD-674C-9876-E6B7C1AAE1C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20038" y="587824"/>
            <a:ext cx="813246" cy="374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00972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rness - Divider - Illustration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9C73793-0700-8547-ACD9-2391F080C4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DD44BB8-C7C7-FB4B-969F-D9B46DF3DAA2}"/>
              </a:ext>
            </a:extLst>
          </p:cNvPr>
          <p:cNvSpPr/>
          <p:nvPr userDrawn="1"/>
        </p:nvSpPr>
        <p:spPr bwMode="gray">
          <a:xfrm>
            <a:off x="0" y="3267182"/>
            <a:ext cx="4953000" cy="202400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87FA3AE7-7410-384B-9170-490344DC19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9390" y="3443990"/>
            <a:ext cx="3519320" cy="162855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2800" b="0" i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Divider slide title goes here when neede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D9BB8E4-6B45-294E-882A-1CB45E742E8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20038" y="587824"/>
            <a:ext cx="813246" cy="374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98743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55B89E7F-3C52-C64A-80BF-4FD0B4075A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7200900" y="1654610"/>
            <a:ext cx="4016405" cy="2884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ontent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324B2C61-0C32-2B42-99F8-41DE475E85D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78320" y="2399351"/>
            <a:ext cx="2743200" cy="2884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EEAB1D9F-BFAA-784E-A127-41167ED13DC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78320" y="3127556"/>
            <a:ext cx="2743200" cy="2884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1E718EB-FA51-094F-BBEE-C5473A3BA3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78320" y="3855761"/>
            <a:ext cx="2743200" cy="2884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42B88A3E-D9AB-BD48-AC51-26C24A55E2F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78320" y="4583966"/>
            <a:ext cx="2743200" cy="2884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2C7338C-3F9E-734D-97B2-35A2CBD88A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78320" y="5312171"/>
            <a:ext cx="2743200" cy="2884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9652B2C3-62E0-1E43-B9F0-FF63D6A35B2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320" y="6040376"/>
            <a:ext cx="2743200" cy="2884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Text Placeholder 33">
            <a:extLst>
              <a:ext uri="{FF2B5EF4-FFF2-40B4-BE49-F238E27FC236}">
                <a16:creationId xmlns:a16="http://schemas.microsoft.com/office/drawing/2014/main" id="{00979B26-BA25-864A-B36C-0AEE0DE6E57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15850" y="2417671"/>
            <a:ext cx="752475" cy="3971925"/>
          </a:xfrm>
        </p:spPr>
        <p:txBody>
          <a:bodyPr>
            <a:noAutofit/>
          </a:bodyPr>
          <a:lstStyle>
            <a:lvl1pPr>
              <a:lnSpc>
                <a:spcPts val="1850"/>
              </a:lnSpc>
              <a:defRPr sz="2400" b="0" i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1</a:t>
            </a:r>
          </a:p>
          <a:p>
            <a:pPr lvl="0"/>
            <a:endParaRPr lang="en-US"/>
          </a:p>
          <a:p>
            <a:pPr lvl="0"/>
            <a:r>
              <a:rPr lang="en-US"/>
              <a:t>02</a:t>
            </a:r>
          </a:p>
          <a:p>
            <a:pPr lvl="0"/>
            <a:endParaRPr lang="en-US"/>
          </a:p>
          <a:p>
            <a:pPr lvl="0"/>
            <a:r>
              <a:rPr lang="en-US"/>
              <a:t>03</a:t>
            </a:r>
          </a:p>
          <a:p>
            <a:pPr lvl="0"/>
            <a:endParaRPr lang="en-US"/>
          </a:p>
          <a:p>
            <a:pPr lvl="0"/>
            <a:r>
              <a:rPr lang="en-US"/>
              <a:t>04</a:t>
            </a:r>
          </a:p>
          <a:p>
            <a:pPr lvl="0"/>
            <a:endParaRPr lang="en-US"/>
          </a:p>
          <a:p>
            <a:pPr lvl="0"/>
            <a:r>
              <a:rPr lang="en-US"/>
              <a:t>05</a:t>
            </a:r>
          </a:p>
          <a:p>
            <a:pPr lvl="0"/>
            <a:endParaRPr lang="en-US"/>
          </a:p>
          <a:p>
            <a:pPr lvl="0"/>
            <a:r>
              <a:rPr lang="en-US"/>
              <a:t>06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1A653CE-C1A2-D441-B17D-48716FCCE9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810867"/>
            <a:ext cx="6243637" cy="5047133"/>
          </a:xfrm>
          <a:prstGeom prst="rect">
            <a:avLst/>
          </a:prstGeom>
        </p:spPr>
      </p:pic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0EC6E4B6-3081-084F-8E5A-A6200DFA6C2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6512" y="495992"/>
            <a:ext cx="569228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00" baseline="0">
                <a:solidFill>
                  <a:schemeClr val="tx2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2060CB14-360D-BF42-BE0A-B4A05DC766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86247" y="495992"/>
            <a:ext cx="3488042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50" baseline="0">
                <a:solidFill>
                  <a:schemeClr val="tx2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DELOITTE DIGITAL</a:t>
            </a:r>
          </a:p>
        </p:txBody>
      </p:sp>
    </p:spTree>
    <p:extLst>
      <p:ext uri="{BB962C8B-B14F-4D97-AF65-F5344CB8AC3E}">
        <p14:creationId xmlns:p14="http://schemas.microsoft.com/office/powerpoint/2010/main" val="1558385227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table&#10;&#10;Description automatically generated">
            <a:extLst>
              <a:ext uri="{FF2B5EF4-FFF2-40B4-BE49-F238E27FC236}">
                <a16:creationId xmlns:a16="http://schemas.microsoft.com/office/drawing/2014/main" id="{B87F1B38-0751-F146-8144-0F2DD184A9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804787"/>
            <a:ext cx="6167437" cy="5053213"/>
          </a:xfrm>
          <a:prstGeom prst="rect">
            <a:avLst/>
          </a:prstGeom>
        </p:spPr>
      </p:pic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55B89E7F-3C52-C64A-80BF-4FD0B4075A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7200900" y="1654610"/>
            <a:ext cx="4016405" cy="2884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ontent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324B2C61-0C32-2B42-99F8-41DE475E85D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78320" y="2399351"/>
            <a:ext cx="2743200" cy="2884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EEAB1D9F-BFAA-784E-A127-41167ED13DC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78320" y="3127556"/>
            <a:ext cx="2743200" cy="2884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1E718EB-FA51-094F-BBEE-C5473A3BA3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78320" y="3855761"/>
            <a:ext cx="2743200" cy="2884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42B88A3E-D9AB-BD48-AC51-26C24A55E2F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78320" y="4583966"/>
            <a:ext cx="2743200" cy="2884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2C7338C-3F9E-734D-97B2-35A2CBD88A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78320" y="5312171"/>
            <a:ext cx="2743200" cy="2884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9652B2C3-62E0-1E43-B9F0-FF63D6A35B2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320" y="6040376"/>
            <a:ext cx="2743200" cy="2884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Text Placeholder 33">
            <a:extLst>
              <a:ext uri="{FF2B5EF4-FFF2-40B4-BE49-F238E27FC236}">
                <a16:creationId xmlns:a16="http://schemas.microsoft.com/office/drawing/2014/main" id="{00979B26-BA25-864A-B36C-0AEE0DE6E57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15850" y="2417671"/>
            <a:ext cx="752475" cy="3971925"/>
          </a:xfrm>
        </p:spPr>
        <p:txBody>
          <a:bodyPr>
            <a:noAutofit/>
          </a:bodyPr>
          <a:lstStyle>
            <a:lvl1pPr>
              <a:lnSpc>
                <a:spcPts val="1850"/>
              </a:lnSpc>
              <a:defRPr sz="2400" b="0" i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1</a:t>
            </a:r>
          </a:p>
          <a:p>
            <a:pPr lvl="0"/>
            <a:endParaRPr lang="en-US"/>
          </a:p>
          <a:p>
            <a:pPr lvl="0"/>
            <a:r>
              <a:rPr lang="en-US"/>
              <a:t>02</a:t>
            </a:r>
          </a:p>
          <a:p>
            <a:pPr lvl="0"/>
            <a:endParaRPr lang="en-US"/>
          </a:p>
          <a:p>
            <a:pPr lvl="0"/>
            <a:r>
              <a:rPr lang="en-US"/>
              <a:t>03</a:t>
            </a:r>
          </a:p>
          <a:p>
            <a:pPr lvl="0"/>
            <a:endParaRPr lang="en-US"/>
          </a:p>
          <a:p>
            <a:pPr lvl="0"/>
            <a:r>
              <a:rPr lang="en-US"/>
              <a:t>04</a:t>
            </a:r>
          </a:p>
          <a:p>
            <a:pPr lvl="0"/>
            <a:endParaRPr lang="en-US"/>
          </a:p>
          <a:p>
            <a:pPr lvl="0"/>
            <a:r>
              <a:rPr lang="en-US"/>
              <a:t>05</a:t>
            </a:r>
          </a:p>
          <a:p>
            <a:pPr lvl="0"/>
            <a:endParaRPr lang="en-US"/>
          </a:p>
          <a:p>
            <a:pPr lvl="0"/>
            <a:r>
              <a:rPr lang="en-US"/>
              <a:t>06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53486A6-E666-C148-A2BD-689EFA91BA7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6512" y="495992"/>
            <a:ext cx="569228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00" baseline="0">
                <a:solidFill>
                  <a:schemeClr val="bg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9B1183E-F68B-7546-A669-DE708867C13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86247" y="495992"/>
            <a:ext cx="3488042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50" baseline="0">
                <a:solidFill>
                  <a:schemeClr val="bg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DELOITTE DIGITAL</a:t>
            </a:r>
          </a:p>
        </p:txBody>
      </p:sp>
    </p:spTree>
    <p:extLst>
      <p:ext uri="{BB962C8B-B14F-4D97-AF65-F5344CB8AC3E}">
        <p14:creationId xmlns:p14="http://schemas.microsoft.com/office/powerpoint/2010/main" val="2461344497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283AAB4-05BA-F745-AEC4-D94AEF23D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4400" y="1079500"/>
            <a:ext cx="5105400" cy="6680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ontents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E002F6C0-0313-3545-BE44-80FAF25F38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81200" y="2048450"/>
            <a:ext cx="2743200" cy="2884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F1D3C238-B7D8-7945-AB3F-54DE1CD472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1949133"/>
            <a:ext cx="638175" cy="413385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01</a:t>
            </a:r>
          </a:p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02</a:t>
            </a:r>
          </a:p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03</a:t>
            </a:r>
          </a:p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04</a:t>
            </a:r>
          </a:p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05</a:t>
            </a:r>
          </a:p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06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926F71C-7D89-EB45-ABD2-3AAC7C9DE7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981200" y="2756118"/>
            <a:ext cx="2743200" cy="2884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B153DFF-995B-F640-90A0-4823A06F73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81200" y="3463786"/>
            <a:ext cx="2743200" cy="2884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DE1E11D-E87A-CD48-AE55-66EF18D7680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81200" y="4171454"/>
            <a:ext cx="2743200" cy="2884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43D337D-B313-1E4B-9B5D-D8A397A302D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81200" y="4879122"/>
            <a:ext cx="2743200" cy="2884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698161D2-1E08-1E46-961C-CF4CCC6EBD8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81200" y="5586790"/>
            <a:ext cx="2743200" cy="2884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16" name="Picture 15" descr="A picture containing brass&#10;&#10;Description automatically generated">
            <a:extLst>
              <a:ext uri="{FF2B5EF4-FFF2-40B4-BE49-F238E27FC236}">
                <a16:creationId xmlns:a16="http://schemas.microsoft.com/office/drawing/2014/main" id="{58353FC6-40D2-B341-80D7-06E6B87E38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19800" y="1943100"/>
            <a:ext cx="6184674" cy="4914899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713838A-99EE-8447-9EEF-5CF06DC6256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6512" y="495992"/>
            <a:ext cx="569228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00" baseline="0">
                <a:solidFill>
                  <a:schemeClr val="tx2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3930189-D57E-0649-A0B6-AD60A2B77AA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86247" y="495992"/>
            <a:ext cx="3488042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50" baseline="0">
                <a:solidFill>
                  <a:schemeClr val="tx2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DELOITTE DIGITAL</a:t>
            </a:r>
          </a:p>
        </p:txBody>
      </p:sp>
    </p:spTree>
    <p:extLst>
      <p:ext uri="{BB962C8B-B14F-4D97-AF65-F5344CB8AC3E}">
        <p14:creationId xmlns:p14="http://schemas.microsoft.com/office/powerpoint/2010/main" val="2471835174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 of 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7989E892-0472-374A-B18A-E2F67EBA25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6754" y="0"/>
            <a:ext cx="12218754" cy="684775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26E14950-C279-FC4B-95DE-4251D5E12323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1116C6F-1B94-B24E-8903-9F817831032B}"/>
              </a:ext>
            </a:extLst>
          </p:cNvPr>
          <p:cNvSpPr/>
          <p:nvPr userDrawn="1"/>
        </p:nvSpPr>
        <p:spPr>
          <a:xfrm>
            <a:off x="-26754" y="2477389"/>
            <a:ext cx="8210317" cy="43806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55B89E7F-3C52-C64A-80BF-4FD0B4075A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36595" y="3268846"/>
            <a:ext cx="4016405" cy="1601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400" spc="3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INTRODUCTION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6C6E8BA-ACB9-3145-A61B-6B8F9D4089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4400" y="4488605"/>
            <a:ext cx="6286500" cy="125446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en-US" err="1"/>
              <a:t>Vivamus</a:t>
            </a:r>
            <a:r>
              <a:rPr lang="en-US"/>
              <a:t> integer non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taciti</a:t>
            </a:r>
            <a:r>
              <a:rPr lang="en-US"/>
              <a:t> </a:t>
            </a:r>
            <a:r>
              <a:rPr lang="en-US" err="1"/>
              <a:t>m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at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sit, </a:t>
            </a:r>
            <a:r>
              <a:rPr lang="en-US" err="1"/>
              <a:t>euismod</a:t>
            </a:r>
            <a:r>
              <a:rPr lang="en-US"/>
              <a:t> libero </a:t>
            </a:r>
            <a:r>
              <a:rPr lang="en-US" err="1"/>
              <a:t>facilisi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cursus gravida sociis </a:t>
            </a:r>
            <a:r>
              <a:rPr lang="en-US" err="1"/>
              <a:t>erat</a:t>
            </a:r>
            <a:r>
              <a:rPr lang="en-US"/>
              <a:t> ante,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dapibus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estfacilisi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cursus gravida sociis </a:t>
            </a:r>
            <a:r>
              <a:rPr lang="en-US" err="1"/>
              <a:t>erat</a:t>
            </a:r>
            <a:r>
              <a:rPr lang="en-US"/>
              <a:t> ante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8986582-CF37-1345-8B01-1F76DAF6D8B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4400" y="3687763"/>
            <a:ext cx="6286500" cy="539750"/>
          </a:xfrm>
        </p:spPr>
        <p:txBody>
          <a:bodyPr>
            <a:noAutofit/>
          </a:bodyPr>
          <a:lstStyle>
            <a:lvl1pPr>
              <a:defRPr sz="24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E45012A-F5CD-F24C-B464-F0856E30168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6512" y="495992"/>
            <a:ext cx="569228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00" baseline="0">
                <a:solidFill>
                  <a:schemeClr val="bg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D267399C-A35E-F64F-ABC0-9603E71ECB2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86247" y="495992"/>
            <a:ext cx="3488042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50" baseline="0">
                <a:solidFill>
                  <a:schemeClr val="bg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DELOITTE DIGITAL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1DC9B9BA-5F20-BD42-BFF9-29AC6A2D5D2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11327" y="584904"/>
            <a:ext cx="821824" cy="378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985073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able of 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9145B23E-9484-2A48-ADF8-E340FC8848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4FA0CBF1-3D0A-5E4C-BD31-20C9E2AD635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b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1116C6F-1B94-B24E-8903-9F817831032B}"/>
              </a:ext>
            </a:extLst>
          </p:cNvPr>
          <p:cNvSpPr/>
          <p:nvPr userDrawn="1"/>
        </p:nvSpPr>
        <p:spPr>
          <a:xfrm>
            <a:off x="0" y="2477389"/>
            <a:ext cx="8183563" cy="4380611"/>
          </a:xfrm>
          <a:prstGeom prst="rect">
            <a:avLst/>
          </a:prstGeom>
          <a:solidFill>
            <a:srgbClr val="004F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55B89E7F-3C52-C64A-80BF-4FD0B4075A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36595" y="3268846"/>
            <a:ext cx="4016405" cy="1601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400" spc="3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INTRODUCTION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6C6E8BA-ACB9-3145-A61B-6B8F9D4089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4400" y="4488605"/>
            <a:ext cx="6286500" cy="125446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err="1"/>
              <a:t>Vivamus</a:t>
            </a:r>
            <a:r>
              <a:rPr lang="en-US"/>
              <a:t> integer non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taciti</a:t>
            </a:r>
            <a:r>
              <a:rPr lang="en-US"/>
              <a:t> </a:t>
            </a:r>
            <a:r>
              <a:rPr lang="en-US" err="1"/>
              <a:t>m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at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sit, </a:t>
            </a:r>
            <a:r>
              <a:rPr lang="en-US" err="1"/>
              <a:t>euismod</a:t>
            </a:r>
            <a:r>
              <a:rPr lang="en-US"/>
              <a:t> libero </a:t>
            </a:r>
            <a:r>
              <a:rPr lang="en-US" err="1"/>
              <a:t>facilisi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cursus gravida sociis </a:t>
            </a:r>
            <a:r>
              <a:rPr lang="en-US" err="1"/>
              <a:t>erat</a:t>
            </a:r>
            <a:r>
              <a:rPr lang="en-US"/>
              <a:t> ante,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dapibus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estfacilisi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cursus gravida sociis </a:t>
            </a:r>
            <a:r>
              <a:rPr lang="en-US" err="1"/>
              <a:t>erat</a:t>
            </a:r>
            <a:r>
              <a:rPr lang="en-US"/>
              <a:t> ante.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6131477-F119-504B-9E32-6A79CCEB39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4400" y="3687763"/>
            <a:ext cx="6286500" cy="539750"/>
          </a:xfrm>
        </p:spPr>
        <p:txBody>
          <a:bodyPr>
            <a:noAutofit/>
          </a:bodyPr>
          <a:lstStyle>
            <a:lvl1pPr>
              <a:defRPr sz="2400" b="0" i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260592F-67BF-814C-8E3A-416551F3475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6512" y="495992"/>
            <a:ext cx="569228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00" baseline="0">
                <a:solidFill>
                  <a:schemeClr val="bg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AC46825-3211-9E40-8C9D-A81DF011C2A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86247" y="495992"/>
            <a:ext cx="3488042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50" baseline="0">
                <a:solidFill>
                  <a:schemeClr val="bg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DELOITTE DIGITA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A1DCF38-8B48-9C49-B9ED-D786EBAD6D9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25219" y="587823"/>
            <a:ext cx="813246" cy="374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00493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i Yer Tutucusu 1">
            <a:extLst>
              <a:ext uri="{FF2B5EF4-FFF2-40B4-BE49-F238E27FC236}">
                <a16:creationId xmlns:a16="http://schemas.microsoft.com/office/drawing/2014/main" id="{36C48AC2-9B70-4F76-A063-9B7FE425E3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7D5679-8147-4208-AAA0-2764F0861D10}" type="datetimeFigureOut">
              <a:rPr lang="en-US" smtClean="0"/>
              <a:t>12/11/2021</a:t>
            </a:fld>
            <a:endParaRPr lang="en-US"/>
          </a:p>
        </p:txBody>
      </p:sp>
      <p:sp>
        <p:nvSpPr>
          <p:cNvPr id="3" name="Alt Bilgi Yer Tutucusu 2">
            <a:extLst>
              <a:ext uri="{FF2B5EF4-FFF2-40B4-BE49-F238E27FC236}">
                <a16:creationId xmlns:a16="http://schemas.microsoft.com/office/drawing/2014/main" id="{1A3A2B17-8327-4338-8AF3-08705F2DED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ayt Numarası Yer Tutucusu 3">
            <a:extLst>
              <a:ext uri="{FF2B5EF4-FFF2-40B4-BE49-F238E27FC236}">
                <a16:creationId xmlns:a16="http://schemas.microsoft.com/office/drawing/2014/main" id="{F75D29D5-8990-42C5-AD04-28334A3B03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4941B-0C0C-4015-80F4-71582E9B4E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864704"/>
      </p:ext>
    </p:extLst>
  </p:cSld>
  <p:clrMapOvr>
    <a:masterClrMapping/>
  </p:clrMapOvr>
  <p:hf hd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able of 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09C888B-77F3-734B-9D7F-2459A22A77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A1116C6F-1B94-B24E-8903-9F817831032B}"/>
              </a:ext>
            </a:extLst>
          </p:cNvPr>
          <p:cNvSpPr/>
          <p:nvPr userDrawn="1"/>
        </p:nvSpPr>
        <p:spPr>
          <a:xfrm>
            <a:off x="-26754" y="3429000"/>
            <a:ext cx="8210317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55B89E7F-3C52-C64A-80BF-4FD0B4075A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36595" y="3812272"/>
            <a:ext cx="4016405" cy="1601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400" spc="3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INTRODUCTION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6C6E8BA-ACB9-3145-A61B-6B8F9D4089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4400" y="5032031"/>
            <a:ext cx="6286500" cy="91156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en-US" err="1"/>
              <a:t>Vivamus</a:t>
            </a:r>
            <a:r>
              <a:rPr lang="en-US"/>
              <a:t> integer non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taciti</a:t>
            </a:r>
            <a:r>
              <a:rPr lang="en-US"/>
              <a:t> </a:t>
            </a:r>
            <a:r>
              <a:rPr lang="en-US" err="1"/>
              <a:t>m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at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sit, </a:t>
            </a:r>
            <a:r>
              <a:rPr lang="en-US" err="1"/>
              <a:t>euismod</a:t>
            </a:r>
            <a:r>
              <a:rPr lang="en-US"/>
              <a:t> libero </a:t>
            </a:r>
            <a:r>
              <a:rPr lang="en-US" err="1"/>
              <a:t>facilisi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cursus gravida sociis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8986582-CF37-1345-8B01-1F76DAF6D8B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4400" y="4231189"/>
            <a:ext cx="6286500" cy="539750"/>
          </a:xfrm>
        </p:spPr>
        <p:txBody>
          <a:bodyPr>
            <a:noAutofit/>
          </a:bodyPr>
          <a:lstStyle>
            <a:lvl1pPr>
              <a:defRPr sz="24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1632E85-AA23-AF44-8821-D0E4A1242C0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6512" y="495992"/>
            <a:ext cx="569228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00" baseline="0">
                <a:solidFill>
                  <a:schemeClr val="bg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AD7B624-AFED-1F44-B83F-7CFCB253E3F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86247" y="495992"/>
            <a:ext cx="3488042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50" baseline="0">
                <a:solidFill>
                  <a:schemeClr val="bg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DELOITTE DIGITA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CF4FC66-7D7E-6849-B5C4-CB341C2816D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25219" y="587823"/>
            <a:ext cx="813246" cy="374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011211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t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4FF7658A-43FB-0B4D-86E1-500CE541A5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4400" y="279400"/>
            <a:ext cx="10325100" cy="7874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/>
              <a:t>Click to edit Master title s edit Master title style 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3AE7E-910B-0941-B969-7146CC1A8E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573212"/>
            <a:ext cx="7933765" cy="4504859"/>
          </a:xfrm>
        </p:spPr>
        <p:txBody>
          <a:bodyPr numCol="2" spcCol="4572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Integer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ec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dio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aesent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libero. Sed cursus ante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apibu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diam. Sed nisi.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ulla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i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m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at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ibh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lementum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mperdiet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Duis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agitti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psum.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aesent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uri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usce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ec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llu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sed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ugue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semper porta.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uri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sa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Vestibulum lacinia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rcu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get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ulla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Class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ptent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aciti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ociosqu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ad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itora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orquent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per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ubia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nostra, per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cepto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imenaeo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urabitur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odale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ligula in libero. Sed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ignissim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estibulum ante ipsum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imi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n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aucibu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rci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uctu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et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ltrice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suere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ubilia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urae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; Morbi lacinia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olestie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dui.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aesent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landit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dolor. Sed non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am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In vel mi sit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ugue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gue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lementum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Morbi in ipsum sit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ede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acilisi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oreet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Donec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cu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unc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iverra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ec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landit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vel,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gesta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et,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ugue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isque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olutpat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dimentum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elit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ass </a:t>
            </a: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ptent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aciti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ociosqu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ad </a:t>
            </a: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itora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orquent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per </a:t>
            </a: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ubia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nostra, per </a:t>
            </a: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ceptos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imenaeos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 </a:t>
            </a: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ec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ante. Sed lacinia, </a:t>
            </a: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rna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non </a:t>
            </a: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incidunt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ttis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ortor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eque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ipiscing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diam, a cursus ipsum ante </a:t>
            </a: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is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urpis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ulla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acilisi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Ut </a:t>
            </a: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ngilla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</a:t>
            </a: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spendisse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tenti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estibulum lacinia </a:t>
            </a: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rcu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get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ulla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Integer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ec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dio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aesent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libero. Sed cursus ante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apibu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diam. Sed nisi.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ulla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i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m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at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ibh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lementum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mperdiet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Duis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agitti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psum.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aesent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uri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usce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ec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llu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sed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ugue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semper porta.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uri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sa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Vestibulum lacinia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rcu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get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ulla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Class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ptent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aciti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ociosqu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ad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itora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orquent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per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ubia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nostra, per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cepto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imenaeo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urabitur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odale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ligula in libero. Sed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ignissim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lacinia. </a:t>
            </a: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estibulum ante ipsum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imi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n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aucibu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rci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uctu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et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ltrice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suere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ubilia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urae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; Morbi lacinia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olestie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dui.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aesent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landit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dolor. Sed non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am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In vel mi sit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ugue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gue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lementum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Morbi in ipsum sit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ede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acilisi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oreet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Donec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cu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unc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iverra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ec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landit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vel,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gesta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et,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ugue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E81B4623-F07A-544C-8ACE-8492929E9D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296400" y="1970943"/>
            <a:ext cx="1943100" cy="631544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en-US"/>
              <a:t>First, Last Name </a:t>
            </a:r>
            <a:br>
              <a:rPr lang="en-US"/>
            </a:br>
            <a:r>
              <a:rPr lang="en-US"/>
              <a:t>Role or title Deloitte Digital </a:t>
            </a:r>
            <a:r>
              <a:rPr lang="en-US" err="1"/>
              <a:t>name@deloitte.com</a:t>
            </a:r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5EAAC76-D81F-C040-9284-FE1D7DE2EED5}"/>
              </a:ext>
            </a:extLst>
          </p:cNvPr>
          <p:cNvCxnSpPr/>
          <p:nvPr userDrawn="1"/>
        </p:nvCxnSpPr>
        <p:spPr>
          <a:xfrm>
            <a:off x="9036424" y="1532965"/>
            <a:ext cx="0" cy="4572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BE0EF246-E81C-E742-862F-0B0A666D89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344" y="1508597"/>
            <a:ext cx="1125274" cy="43450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1A161F8-5174-7245-96DC-46D6B66466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96400" y="3357946"/>
            <a:ext cx="1943100" cy="631544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en-US"/>
              <a:t>First, Last Name </a:t>
            </a:r>
            <a:br>
              <a:rPr lang="en-US"/>
            </a:br>
            <a:r>
              <a:rPr lang="en-US"/>
              <a:t>Role or title Deloitte Digital </a:t>
            </a:r>
            <a:r>
              <a:rPr lang="en-US" err="1"/>
              <a:t>name@deloitte.com</a:t>
            </a: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D6CF4E5-6D19-2545-9B0F-2A46658423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344" y="2895600"/>
            <a:ext cx="1125274" cy="434503"/>
          </a:xfrm>
          <a:prstGeom prst="rect">
            <a:avLst/>
          </a:prstGeom>
        </p:spPr>
      </p:pic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5467000A-4742-A14C-8185-C89BEECC42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296400" y="4729546"/>
            <a:ext cx="1943100" cy="631544"/>
          </a:xfrm>
        </p:spPr>
        <p:txBody>
          <a:bodyPr>
            <a:noAutofit/>
          </a:bodyPr>
          <a:lstStyle>
            <a:lvl1pPr>
              <a:defRPr sz="1000"/>
            </a:lvl1pPr>
          </a:lstStyle>
          <a:p>
            <a:pPr lvl="0"/>
            <a:r>
              <a:rPr lang="en-US"/>
              <a:t>First, Last Name </a:t>
            </a:r>
            <a:br>
              <a:rPr lang="en-US"/>
            </a:br>
            <a:r>
              <a:rPr lang="en-US"/>
              <a:t>Role or title Deloitte Digital </a:t>
            </a:r>
            <a:r>
              <a:rPr lang="en-US" err="1"/>
              <a:t>name@deloitte.com</a:t>
            </a:r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9456665-D12E-DB4F-A2B4-8153DB942B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344" y="4267200"/>
            <a:ext cx="1125274" cy="434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095101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4FF7658A-43FB-0B4D-86E1-500CE541A5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4400" y="279400"/>
            <a:ext cx="10325100" cy="7874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/>
              <a:t>Click to edit Master title s edit Master title style tyle</a:t>
            </a:r>
          </a:p>
        </p:txBody>
      </p:sp>
    </p:spTree>
    <p:extLst>
      <p:ext uri="{BB962C8B-B14F-4D97-AF65-F5344CB8AC3E}">
        <p14:creationId xmlns:p14="http://schemas.microsoft.com/office/powerpoint/2010/main" val="1678583165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: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283AAB4-05BA-F745-AEC4-D94AEF23D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4400" y="279400"/>
            <a:ext cx="10325100" cy="7874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/>
              <a:t>Click to edit Master title s edit Master title style 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0A8EFBF-6B77-C94F-8440-771FCE72952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4400" y="1184239"/>
            <a:ext cx="9296400" cy="5842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lvl1pPr>
          </a:lstStyle>
          <a:p>
            <a:pPr lvl="0"/>
            <a:r>
              <a:rPr lang="en-US"/>
              <a:t>2 lines running intro text. Morbi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, porta ac </a:t>
            </a:r>
            <a:r>
              <a:rPr lang="en-US" err="1"/>
              <a:t>consectetur</a:t>
            </a:r>
            <a:r>
              <a:rPr lang="en-US"/>
              <a:t> ac, vestibulum at eros. Donec sed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 Sed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t </a:t>
            </a:r>
            <a:r>
              <a:rPr lang="en-US" err="1"/>
              <a:t>lobortis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99780600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: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F932B7AC-E03D-4641-A658-EFC46DA5B9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4400" y="2771775"/>
            <a:ext cx="2628900" cy="318611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elis </a:t>
            </a:r>
            <a:r>
              <a:rPr kumimoji="0" lang="en-US" sz="105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landit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cursus</a:t>
            </a:r>
            <a:b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it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sectetur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ipiscing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it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rna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sequat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elis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hicula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class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ltricies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llis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ctumst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enean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non a in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nec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ulla.Etu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hasellus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nte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ellentesque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rat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cum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isus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sequat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perdiet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iquam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integer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lacerat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t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urpis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mi eros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ec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bortis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aciti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hicula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isl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itora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llus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ligula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rttitor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tus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5766036-CC94-7A43-8277-EE32236244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86224" y="2771775"/>
            <a:ext cx="2628900" cy="318611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elis </a:t>
            </a:r>
            <a:r>
              <a:rPr kumimoji="0" lang="en-US" sz="105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landit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cursus</a:t>
            </a:r>
            <a:b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it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sectetur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ipiscing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it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rna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sequat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elis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hicula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class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ltricies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llis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ctumst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enean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non a in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nec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ulla.Etu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hasellus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nte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ellentesque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rat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cum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isus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sequat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perdiet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iquam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integer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lacerat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t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urpis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mi eros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ec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bortis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aciti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hicula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isl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itora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llus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ligula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rttitor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tus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187DBF68-EA89-5143-8F64-7AE55771EB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10424" y="2771775"/>
            <a:ext cx="2628900" cy="318611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elis </a:t>
            </a:r>
            <a:r>
              <a:rPr kumimoji="0" lang="en-US" sz="105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landit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cursus</a:t>
            </a:r>
            <a:b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it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sectetur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ipiscing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it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rna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sequat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elis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hicula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class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ltricies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llis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ctumst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enean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non a in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nec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ulla.Etu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hasellus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nte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ellentesque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rat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cum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isus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sequat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perdiet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iquam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integer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lacerat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t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urpis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mi eros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ec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bortis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aciti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hicula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isl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itora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llus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ligula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rttitor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AU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tus</a:t>
            </a: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24377E0F-77E6-D347-8705-67011AA7BA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4400" y="279400"/>
            <a:ext cx="10325100" cy="7874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/>
              <a:t>Click to edit Master title s edit Master title style 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A1AB959-3A65-5F49-9162-938F4A1B63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4400" y="1184239"/>
            <a:ext cx="9296400" cy="5842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lvl1pPr>
          </a:lstStyle>
          <a:p>
            <a:pPr lvl="0"/>
            <a:r>
              <a:rPr lang="en-US"/>
              <a:t>2 lines running intro text. Morbi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, porta ac </a:t>
            </a:r>
            <a:r>
              <a:rPr lang="en-US" err="1"/>
              <a:t>consectetur</a:t>
            </a:r>
            <a:r>
              <a:rPr lang="en-US"/>
              <a:t> ac, vestibulum at eros. Donec sed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 Sed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t </a:t>
            </a:r>
            <a:r>
              <a:rPr lang="en-US" err="1"/>
              <a:t>lobortis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79994685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: Tier Messag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8B615B79-83A2-0343-BB17-1E5F1DBD26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4400" y="279400"/>
            <a:ext cx="10325100" cy="7874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/>
              <a:t>Your headline goes here when you’re ready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D642028-55AE-A84C-8468-9727C57D77D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400" y="2465668"/>
            <a:ext cx="9296400" cy="96333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lorem </a:t>
            </a:r>
            <a:r>
              <a:rPr lang="en-US" err="1"/>
              <a:t>primisetua</a:t>
            </a:r>
            <a:r>
              <a:rPr lang="en-US"/>
              <a:t>, </a:t>
            </a:r>
            <a:r>
              <a:rPr lang="en-US" err="1"/>
              <a:t>senectus</a:t>
            </a:r>
            <a:r>
              <a:rPr lang="en-US"/>
              <a:t> </a:t>
            </a:r>
            <a:r>
              <a:rPr lang="en-US" err="1"/>
              <a:t>habitasse</a:t>
            </a:r>
            <a:r>
              <a:rPr lang="en-US"/>
              <a:t> </a:t>
            </a:r>
            <a:r>
              <a:rPr lang="en-US" err="1"/>
              <a:t>lectusetu</a:t>
            </a:r>
            <a:r>
              <a:rPr lang="en-US"/>
              <a:t> </a:t>
            </a:r>
            <a:r>
              <a:rPr lang="en-US" err="1"/>
              <a:t>doler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,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 </a:t>
            </a:r>
            <a:r>
              <a:rPr lang="en-US" err="1"/>
              <a:t>pellentesque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mi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Massa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fringilla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=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class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dictumst</a:t>
            </a:r>
            <a:r>
              <a:rPr lang="en-US"/>
              <a:t>, </a:t>
            </a:r>
            <a:r>
              <a:rPr lang="en-US" err="1"/>
              <a:t>aenean</a:t>
            </a:r>
            <a:r>
              <a:rPr lang="en-US"/>
              <a:t> non a in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7D24869-7C17-4646-B9D3-8285654B0D4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4400" y="1184239"/>
            <a:ext cx="9296400" cy="5842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lvl1pPr>
          </a:lstStyle>
          <a:p>
            <a:pPr lvl="0"/>
            <a:r>
              <a:rPr lang="en-US"/>
              <a:t>2 lines running intro text. Morbi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, porta ac </a:t>
            </a:r>
            <a:r>
              <a:rPr lang="en-US" err="1"/>
              <a:t>consectetur</a:t>
            </a:r>
            <a:r>
              <a:rPr lang="en-US"/>
              <a:t> ac, vestibulum at eros. Donec sed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 Sed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t </a:t>
            </a:r>
            <a:r>
              <a:rPr lang="en-US" err="1"/>
              <a:t>lobortis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277905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: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8EC5EC5A-100A-7147-B3DC-6BBBC38A8B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4400" y="2959100"/>
            <a:ext cx="3009900" cy="1714500"/>
          </a:xfrm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lvl1pPr>
          </a:lstStyle>
          <a:p>
            <a:pPr lvl="0"/>
            <a:r>
              <a:rPr lang="en-US"/>
              <a:t>7 lines running intro text. Morbi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, porta ac </a:t>
            </a:r>
            <a:r>
              <a:rPr lang="en-US" err="1"/>
              <a:t>consectetur</a:t>
            </a:r>
            <a:r>
              <a:rPr lang="en-US"/>
              <a:t> ac, vestibulum at eros. Donec sed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 Sed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t </a:t>
            </a:r>
            <a:r>
              <a:rPr lang="en-US" err="1"/>
              <a:t>lobortis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10A1F4-8F2A-B944-8910-489459DDC3B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571500"/>
            <a:ext cx="3009900" cy="2190750"/>
          </a:xfrm>
        </p:spPr>
        <p:txBody>
          <a:bodyPr anchor="b"/>
          <a:lstStyle>
            <a:lvl1pPr>
              <a:lnSpc>
                <a:spcPct val="100000"/>
              </a:lnSpc>
              <a:defRPr sz="2400">
                <a:latin typeface="+mj-lt"/>
              </a:defRPr>
            </a:lvl1pPr>
            <a:lvl2pPr>
              <a:defRPr sz="2400">
                <a:latin typeface="+mj-lt"/>
              </a:defRPr>
            </a:lvl2pPr>
            <a:lvl3pPr>
              <a:defRPr sz="2400">
                <a:latin typeface="+mj-lt"/>
              </a:defRPr>
            </a:lvl3pPr>
            <a:lvl4pPr>
              <a:defRPr sz="2400">
                <a:latin typeface="+mj-lt"/>
              </a:defRPr>
            </a:lvl4pPr>
            <a:lvl5pPr>
              <a:defRPr sz="2400">
                <a:latin typeface="+mj-lt"/>
              </a:defRPr>
            </a:lvl5pPr>
          </a:lstStyle>
          <a:p>
            <a:pPr lvl="0"/>
            <a:r>
              <a:rPr lang="en-US"/>
              <a:t>Click to edit slide heading</a:t>
            </a:r>
          </a:p>
        </p:txBody>
      </p:sp>
    </p:spTree>
    <p:extLst>
      <p:ext uri="{BB962C8B-B14F-4D97-AF65-F5344CB8AC3E}">
        <p14:creationId xmlns:p14="http://schemas.microsoft.com/office/powerpoint/2010/main" val="3023539575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: Sidebar -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853F0EA-AC11-8C4E-9D81-4613FE65844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53000" y="598394"/>
            <a:ext cx="2913529" cy="23876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/>
            </a:lvl1pPr>
          </a:lstStyle>
          <a:p>
            <a:pPr lvl="0"/>
            <a:r>
              <a:rPr lang="en-US"/>
              <a:t>Ligula </a:t>
            </a:r>
            <a:r>
              <a:rPr lang="en-US" err="1"/>
              <a:t>justo</a:t>
            </a:r>
            <a:r>
              <a:rPr lang="en-US"/>
              <a:t> </a:t>
            </a:r>
            <a:r>
              <a:rPr lang="en-US" err="1"/>
              <a:t>porttitor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class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dictumst</a:t>
            </a:r>
            <a:r>
              <a:rPr lang="en-US"/>
              <a:t>, </a:t>
            </a:r>
            <a:r>
              <a:rPr lang="en-US" err="1"/>
              <a:t>aenean</a:t>
            </a:r>
            <a:r>
              <a:rPr lang="en-US"/>
              <a:t> non a in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. </a:t>
            </a:r>
            <a:r>
              <a:rPr lang="en-US" err="1"/>
              <a:t>Etu</a:t>
            </a:r>
            <a:r>
              <a:rPr lang="en-US"/>
              <a:t> </a:t>
            </a:r>
            <a:r>
              <a:rPr lang="en-US" err="1"/>
              <a:t>phasellus</a:t>
            </a:r>
            <a:r>
              <a:rPr lang="en-US"/>
              <a:t> ante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cum </a:t>
            </a:r>
            <a:r>
              <a:rPr lang="en-US" err="1"/>
              <a:t>risus</a:t>
            </a:r>
            <a:r>
              <a:rPr lang="en-US"/>
              <a:t> dolor</a:t>
            </a:r>
          </a:p>
          <a:p>
            <a:pPr lvl="0"/>
            <a:endParaRPr lang="en-US"/>
          </a:p>
          <a:p>
            <a:pPr lvl="0"/>
            <a:r>
              <a:rPr lang="en-US" err="1"/>
              <a:t>Etu</a:t>
            </a:r>
            <a:r>
              <a:rPr lang="en-US"/>
              <a:t> </a:t>
            </a:r>
            <a:r>
              <a:rPr lang="en-US" err="1"/>
              <a:t>phasellus</a:t>
            </a:r>
            <a:r>
              <a:rPr lang="en-US"/>
              <a:t> ante</a:t>
            </a:r>
          </a:p>
          <a:p>
            <a:pPr lvl="0"/>
            <a:r>
              <a:rPr lang="en-US" err="1"/>
              <a:t>Viverra</a:t>
            </a:r>
            <a:r>
              <a:rPr lang="en-US"/>
              <a:t> dolor eros semper </a:t>
            </a:r>
            <a:r>
              <a:rPr lang="en-US" err="1"/>
              <a:t>sociosqu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,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platea</a:t>
            </a:r>
            <a:r>
              <a:rPr lang="en-US"/>
              <a:t> cursus per </a:t>
            </a:r>
            <a:r>
              <a:rPr lang="en-US" err="1"/>
              <a:t>suscipi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id  </a:t>
            </a:r>
            <a:r>
              <a:rPr lang="en-US" err="1"/>
              <a:t>risus</a:t>
            </a:r>
            <a:r>
              <a:rPr lang="en-US"/>
              <a:t> auctor </a:t>
            </a:r>
            <a:r>
              <a:rPr lang="en-US" err="1"/>
              <a:t>incepto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.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.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A2113F8-68DA-F348-9BDA-CC52D25A1C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78906" y="598394"/>
            <a:ext cx="2913529" cy="23876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/>
            </a:lvl1pPr>
          </a:lstStyle>
          <a:p>
            <a:pPr lvl="0"/>
            <a:r>
              <a:rPr lang="en-US"/>
              <a:t>Ligula </a:t>
            </a:r>
            <a:r>
              <a:rPr lang="en-US" err="1"/>
              <a:t>justo</a:t>
            </a:r>
            <a:r>
              <a:rPr lang="en-US"/>
              <a:t> </a:t>
            </a:r>
            <a:r>
              <a:rPr lang="en-US" err="1"/>
              <a:t>porttitor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class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dictumst</a:t>
            </a:r>
            <a:r>
              <a:rPr lang="en-US"/>
              <a:t>, </a:t>
            </a:r>
            <a:r>
              <a:rPr lang="en-US" err="1"/>
              <a:t>aenean</a:t>
            </a:r>
            <a:r>
              <a:rPr lang="en-US"/>
              <a:t> non a in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. </a:t>
            </a:r>
            <a:r>
              <a:rPr lang="en-US" err="1"/>
              <a:t>Etu</a:t>
            </a:r>
            <a:r>
              <a:rPr lang="en-US"/>
              <a:t> </a:t>
            </a:r>
            <a:r>
              <a:rPr lang="en-US" err="1"/>
              <a:t>phasellus</a:t>
            </a:r>
            <a:r>
              <a:rPr lang="en-US"/>
              <a:t> ante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cum </a:t>
            </a:r>
            <a:r>
              <a:rPr lang="en-US" err="1"/>
              <a:t>risus</a:t>
            </a:r>
            <a:r>
              <a:rPr lang="en-US"/>
              <a:t> dolor</a:t>
            </a:r>
          </a:p>
          <a:p>
            <a:pPr lvl="0"/>
            <a:endParaRPr lang="en-US"/>
          </a:p>
          <a:p>
            <a:pPr lvl="0"/>
            <a:r>
              <a:rPr lang="en-US" err="1"/>
              <a:t>Etu</a:t>
            </a:r>
            <a:r>
              <a:rPr lang="en-US"/>
              <a:t> </a:t>
            </a:r>
            <a:r>
              <a:rPr lang="en-US" err="1"/>
              <a:t>phasellus</a:t>
            </a:r>
            <a:r>
              <a:rPr lang="en-US"/>
              <a:t> ante</a:t>
            </a:r>
          </a:p>
          <a:p>
            <a:pPr lvl="0"/>
            <a:r>
              <a:rPr lang="en-US" err="1"/>
              <a:t>Viverra</a:t>
            </a:r>
            <a:r>
              <a:rPr lang="en-US"/>
              <a:t> dolor eros semper </a:t>
            </a:r>
            <a:r>
              <a:rPr lang="en-US" err="1"/>
              <a:t>sociosqu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,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platea</a:t>
            </a:r>
            <a:r>
              <a:rPr lang="en-US"/>
              <a:t> cursus per </a:t>
            </a:r>
            <a:r>
              <a:rPr lang="en-US" err="1"/>
              <a:t>suscipi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id  </a:t>
            </a:r>
            <a:r>
              <a:rPr lang="en-US" err="1"/>
              <a:t>risus</a:t>
            </a:r>
            <a:r>
              <a:rPr lang="en-US"/>
              <a:t> auctor </a:t>
            </a:r>
            <a:r>
              <a:rPr lang="en-US" err="1"/>
              <a:t>incepto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.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4A9E2B4-6FEE-DA4E-AD16-A814A408194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53000" y="3429000"/>
            <a:ext cx="6286500" cy="23876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/>
            </a:lvl1pPr>
          </a:lstStyle>
          <a:p>
            <a:pPr lvl="0"/>
            <a:r>
              <a:rPr lang="en-US" err="1"/>
              <a:t>Conubia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primis</a:t>
            </a:r>
            <a:endParaRPr lang="en-US"/>
          </a:p>
          <a:p>
            <a:pPr lvl="0"/>
            <a:r>
              <a:rPr lang="en-US"/>
              <a:t>Libero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fames </a:t>
            </a:r>
            <a:r>
              <a:rPr lang="en-US" err="1"/>
              <a:t>penatib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 diam </a:t>
            </a:r>
            <a:r>
              <a:rPr lang="en-US" err="1"/>
              <a:t>platea</a:t>
            </a:r>
            <a:r>
              <a:rPr lang="en-US"/>
              <a:t>, </a:t>
            </a:r>
            <a:r>
              <a:rPr lang="en-US" err="1"/>
              <a:t>himenaeos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eros </a:t>
            </a:r>
            <a:r>
              <a:rPr lang="en-US" err="1"/>
              <a:t>congue</a:t>
            </a:r>
            <a:r>
              <a:rPr lang="en-US"/>
              <a:t> vestibulum ipsum </a:t>
            </a:r>
            <a:r>
              <a:rPr lang="en-US" err="1"/>
              <a:t>adipiscin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 g ligula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nequ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sociisetur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r>
              <a:rPr lang="en-US" err="1"/>
              <a:t>Quisque</a:t>
            </a:r>
            <a:r>
              <a:rPr lang="en-US"/>
              <a:t> </a:t>
            </a:r>
            <a:r>
              <a:rPr lang="en-US" err="1"/>
              <a:t>laoreet</a:t>
            </a:r>
            <a:endParaRPr lang="en-US"/>
          </a:p>
          <a:p>
            <a:pPr lvl="0"/>
            <a:r>
              <a:rPr lang="en-US" err="1"/>
              <a:t>Viverra</a:t>
            </a:r>
            <a:r>
              <a:rPr lang="en-US"/>
              <a:t> dolor eros semper </a:t>
            </a:r>
            <a:r>
              <a:rPr lang="en-US" err="1"/>
              <a:t>sociosqu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,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platea</a:t>
            </a:r>
            <a:r>
              <a:rPr lang="en-US"/>
              <a:t> cursus per </a:t>
            </a:r>
            <a:r>
              <a:rPr lang="en-US" err="1"/>
              <a:t>sid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auctor </a:t>
            </a:r>
            <a:r>
              <a:rPr lang="en-US" err="1"/>
              <a:t>incepto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r>
              <a:rPr lang="en-US" err="1"/>
              <a:t>Conubia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primis</a:t>
            </a:r>
            <a:endParaRPr lang="en-US"/>
          </a:p>
          <a:p>
            <a:pPr lvl="0"/>
            <a:r>
              <a:rPr lang="en-US"/>
              <a:t>Libero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fames </a:t>
            </a:r>
            <a:r>
              <a:rPr lang="en-US" err="1"/>
              <a:t>penatib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h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endrerit</a:t>
            </a:r>
            <a:r>
              <a:rPr lang="en-US"/>
              <a:t> diam </a:t>
            </a:r>
            <a:r>
              <a:rPr lang="en-US" err="1"/>
              <a:t>platea</a:t>
            </a:r>
            <a:r>
              <a:rPr lang="en-US"/>
              <a:t>, </a:t>
            </a:r>
            <a:r>
              <a:rPr lang="en-US" err="1"/>
              <a:t>himenaeos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eros </a:t>
            </a:r>
            <a:r>
              <a:rPr lang="en-US" err="1"/>
              <a:t>congue</a:t>
            </a:r>
            <a:r>
              <a:rPr lang="en-US"/>
              <a:t> vestibulum ipsum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nequ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sociisetur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6F07B15-98E7-FC46-A720-8B2370D0EF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4400" y="2959100"/>
            <a:ext cx="3009900" cy="1714500"/>
          </a:xfrm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lvl1pPr>
          </a:lstStyle>
          <a:p>
            <a:pPr lvl="0"/>
            <a:r>
              <a:rPr lang="en-US"/>
              <a:t>7 lines running intro text. Morbi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, porta ac </a:t>
            </a:r>
            <a:r>
              <a:rPr lang="en-US" err="1"/>
              <a:t>consectetur</a:t>
            </a:r>
            <a:r>
              <a:rPr lang="en-US"/>
              <a:t> ac, vestibulum at eros. Donec sed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 Sed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t </a:t>
            </a:r>
            <a:r>
              <a:rPr lang="en-US" err="1"/>
              <a:t>lobortis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BC14B02-EC5A-D343-8FED-78FD9330CC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4400" y="571500"/>
            <a:ext cx="3009900" cy="2190750"/>
          </a:xfrm>
        </p:spPr>
        <p:txBody>
          <a:bodyPr anchor="b"/>
          <a:lstStyle>
            <a:lvl1pPr>
              <a:lnSpc>
                <a:spcPct val="100000"/>
              </a:lnSpc>
              <a:defRPr sz="2400">
                <a:latin typeface="+mj-lt"/>
              </a:defRPr>
            </a:lvl1pPr>
            <a:lvl2pPr>
              <a:defRPr sz="2400">
                <a:latin typeface="+mj-lt"/>
              </a:defRPr>
            </a:lvl2pPr>
            <a:lvl3pPr>
              <a:defRPr sz="2400">
                <a:latin typeface="+mj-lt"/>
              </a:defRPr>
            </a:lvl3pPr>
            <a:lvl4pPr>
              <a:defRPr sz="2400">
                <a:latin typeface="+mj-lt"/>
              </a:defRPr>
            </a:lvl4pPr>
            <a:lvl5pPr>
              <a:defRPr sz="2400">
                <a:latin typeface="+mj-lt"/>
              </a:defRPr>
            </a:lvl5pPr>
          </a:lstStyle>
          <a:p>
            <a:pPr lvl="0"/>
            <a:r>
              <a:rPr lang="en-US"/>
              <a:t>Click to edit slide heading</a:t>
            </a:r>
          </a:p>
        </p:txBody>
      </p:sp>
    </p:spTree>
    <p:extLst>
      <p:ext uri="{BB962C8B-B14F-4D97-AF65-F5344CB8AC3E}">
        <p14:creationId xmlns:p14="http://schemas.microsoft.com/office/powerpoint/2010/main" val="3569747719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: Sidebar - 3 Column Highligh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brass&#10;&#10;Description automatically generated">
            <a:extLst>
              <a:ext uri="{FF2B5EF4-FFF2-40B4-BE49-F238E27FC236}">
                <a16:creationId xmlns:a16="http://schemas.microsoft.com/office/drawing/2014/main" id="{EC3E0799-F43B-0C46-B033-EC3D43D90E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46626" y="316241"/>
            <a:ext cx="7545374" cy="25839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30A52DF-CB2F-C941-B4C6-058C62D8D230}"/>
              </a:ext>
            </a:extLst>
          </p:cNvPr>
          <p:cNvSpPr/>
          <p:nvPr userDrawn="1"/>
        </p:nvSpPr>
        <p:spPr bwMode="gray">
          <a:xfrm>
            <a:off x="4507832" y="571500"/>
            <a:ext cx="7684168" cy="57150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053E47D-370F-3443-A6F8-A409AC4E99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4400" y="2959100"/>
            <a:ext cx="3009900" cy="1714500"/>
          </a:xfrm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lvl1pPr>
          </a:lstStyle>
          <a:p>
            <a:pPr lvl="0"/>
            <a:r>
              <a:rPr lang="en-US"/>
              <a:t>7 lines running intro text. Morbi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, porta ac </a:t>
            </a:r>
            <a:r>
              <a:rPr lang="en-US" err="1"/>
              <a:t>consectetur</a:t>
            </a:r>
            <a:r>
              <a:rPr lang="en-US"/>
              <a:t> ac, vestibulum at eros. Donec sed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 Sed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t </a:t>
            </a:r>
            <a:r>
              <a:rPr lang="en-US" err="1"/>
              <a:t>lobortis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9478454D-29B9-EF4F-8563-86D62EBD609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571500"/>
            <a:ext cx="3009900" cy="2190750"/>
          </a:xfrm>
        </p:spPr>
        <p:txBody>
          <a:bodyPr anchor="b"/>
          <a:lstStyle>
            <a:lvl1pPr>
              <a:lnSpc>
                <a:spcPct val="100000"/>
              </a:lnSpc>
              <a:defRPr sz="2400">
                <a:latin typeface="+mj-lt"/>
              </a:defRPr>
            </a:lvl1pPr>
            <a:lvl2pPr>
              <a:defRPr sz="2400">
                <a:latin typeface="+mj-lt"/>
              </a:defRPr>
            </a:lvl2pPr>
            <a:lvl3pPr>
              <a:defRPr sz="2400">
                <a:latin typeface="+mj-lt"/>
              </a:defRPr>
            </a:lvl3pPr>
            <a:lvl4pPr>
              <a:defRPr sz="2400">
                <a:latin typeface="+mj-lt"/>
              </a:defRPr>
            </a:lvl4pPr>
            <a:lvl5pPr>
              <a:defRPr sz="2400">
                <a:latin typeface="+mj-lt"/>
              </a:defRPr>
            </a:lvl5pPr>
          </a:lstStyle>
          <a:p>
            <a:pPr lvl="0"/>
            <a:r>
              <a:rPr lang="en-US"/>
              <a:t>Click to edit slide heading</a:t>
            </a:r>
          </a:p>
        </p:txBody>
      </p:sp>
    </p:spTree>
    <p:extLst>
      <p:ext uri="{BB962C8B-B14F-4D97-AF65-F5344CB8AC3E}">
        <p14:creationId xmlns:p14="http://schemas.microsoft.com/office/powerpoint/2010/main" val="2994601309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: Sidebar - 3 Column Highligh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brass&#10;&#10;Description automatically generated">
            <a:extLst>
              <a:ext uri="{FF2B5EF4-FFF2-40B4-BE49-F238E27FC236}">
                <a16:creationId xmlns:a16="http://schemas.microsoft.com/office/drawing/2014/main" id="{5B5F4D44-B6BB-7648-B10A-B760078A43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46626" y="316241"/>
            <a:ext cx="7545374" cy="258398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F43530D-AED0-904F-AF24-898BF226E9D5}"/>
              </a:ext>
            </a:extLst>
          </p:cNvPr>
          <p:cNvSpPr/>
          <p:nvPr userDrawn="1"/>
        </p:nvSpPr>
        <p:spPr bwMode="gray">
          <a:xfrm>
            <a:off x="4507832" y="571500"/>
            <a:ext cx="7684168" cy="6286500"/>
          </a:xfrm>
          <a:prstGeom prst="rect">
            <a:avLst/>
          </a:prstGeom>
          <a:solidFill>
            <a:srgbClr val="004F59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E60AA89-0F2A-824E-9BA6-AD5D95C0A75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4400" y="2959100"/>
            <a:ext cx="3009900" cy="1714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lvl1pPr>
          </a:lstStyle>
          <a:p>
            <a:pPr lvl="0"/>
            <a:r>
              <a:rPr lang="en-US"/>
              <a:t>7 lines running intro text. Morbi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, porta ac </a:t>
            </a:r>
            <a:r>
              <a:rPr lang="en-US" err="1"/>
              <a:t>consectetur</a:t>
            </a:r>
            <a:r>
              <a:rPr lang="en-US"/>
              <a:t> ac, vestibulum at eros. Donec sed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 Sed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t </a:t>
            </a:r>
            <a:r>
              <a:rPr lang="en-US" err="1"/>
              <a:t>lobortis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3981EA64-AE5C-AB4F-BD6E-1440368216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05400" y="1066800"/>
            <a:ext cx="2913529" cy="23876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igula </a:t>
            </a:r>
            <a:r>
              <a:rPr lang="en-US" err="1"/>
              <a:t>justo</a:t>
            </a:r>
            <a:r>
              <a:rPr lang="en-US"/>
              <a:t> </a:t>
            </a:r>
            <a:r>
              <a:rPr lang="en-US" err="1"/>
              <a:t>porttitor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class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dictumst</a:t>
            </a:r>
            <a:r>
              <a:rPr lang="en-US"/>
              <a:t>, </a:t>
            </a:r>
            <a:r>
              <a:rPr lang="en-US" err="1"/>
              <a:t>aenean</a:t>
            </a:r>
            <a:r>
              <a:rPr lang="en-US"/>
              <a:t> non a in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. </a:t>
            </a:r>
            <a:r>
              <a:rPr lang="en-US" err="1"/>
              <a:t>Etu</a:t>
            </a:r>
            <a:r>
              <a:rPr lang="en-US"/>
              <a:t> </a:t>
            </a:r>
            <a:r>
              <a:rPr lang="en-US" err="1"/>
              <a:t>phasellus</a:t>
            </a:r>
            <a:r>
              <a:rPr lang="en-US"/>
              <a:t> ante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cum </a:t>
            </a:r>
            <a:r>
              <a:rPr lang="en-US" err="1"/>
              <a:t>risus</a:t>
            </a:r>
            <a:r>
              <a:rPr lang="en-US"/>
              <a:t> dolor</a:t>
            </a:r>
          </a:p>
          <a:p>
            <a:pPr lvl="0"/>
            <a:endParaRPr lang="en-US"/>
          </a:p>
          <a:p>
            <a:pPr lvl="0"/>
            <a:r>
              <a:rPr lang="en-US" err="1"/>
              <a:t>Etu</a:t>
            </a:r>
            <a:r>
              <a:rPr lang="en-US"/>
              <a:t> </a:t>
            </a:r>
            <a:r>
              <a:rPr lang="en-US" err="1"/>
              <a:t>phasellus</a:t>
            </a:r>
            <a:r>
              <a:rPr lang="en-US"/>
              <a:t> ante</a:t>
            </a:r>
          </a:p>
          <a:p>
            <a:pPr lvl="0"/>
            <a:r>
              <a:rPr lang="en-US" err="1"/>
              <a:t>Viverra</a:t>
            </a:r>
            <a:r>
              <a:rPr lang="en-US"/>
              <a:t> dolor eros semper </a:t>
            </a:r>
            <a:r>
              <a:rPr lang="en-US" err="1"/>
              <a:t>sociosqu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,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platea</a:t>
            </a:r>
            <a:r>
              <a:rPr lang="en-US"/>
              <a:t> cursus per </a:t>
            </a:r>
            <a:r>
              <a:rPr lang="en-US" err="1"/>
              <a:t>suscipi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id  </a:t>
            </a:r>
            <a:r>
              <a:rPr lang="en-US" err="1"/>
              <a:t>risus</a:t>
            </a:r>
            <a:r>
              <a:rPr lang="en-US"/>
              <a:t> auctor </a:t>
            </a:r>
            <a:r>
              <a:rPr lang="en-US" err="1"/>
              <a:t>incepto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.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.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B7A1B024-03EC-4842-8A95-5E450A66C4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25971" y="1066800"/>
            <a:ext cx="2913529" cy="23876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igula </a:t>
            </a:r>
            <a:r>
              <a:rPr lang="en-US" err="1"/>
              <a:t>justo</a:t>
            </a:r>
            <a:r>
              <a:rPr lang="en-US"/>
              <a:t> </a:t>
            </a:r>
            <a:r>
              <a:rPr lang="en-US" err="1"/>
              <a:t>porttitor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class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dictumst</a:t>
            </a:r>
            <a:r>
              <a:rPr lang="en-US"/>
              <a:t>, </a:t>
            </a:r>
            <a:r>
              <a:rPr lang="en-US" err="1"/>
              <a:t>aenean</a:t>
            </a:r>
            <a:r>
              <a:rPr lang="en-US"/>
              <a:t> non a in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. </a:t>
            </a:r>
            <a:r>
              <a:rPr lang="en-US" err="1"/>
              <a:t>Etu</a:t>
            </a:r>
            <a:r>
              <a:rPr lang="en-US"/>
              <a:t> </a:t>
            </a:r>
            <a:r>
              <a:rPr lang="en-US" err="1"/>
              <a:t>phasellus</a:t>
            </a:r>
            <a:r>
              <a:rPr lang="en-US"/>
              <a:t> ante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cum </a:t>
            </a:r>
            <a:r>
              <a:rPr lang="en-US" err="1"/>
              <a:t>risus</a:t>
            </a:r>
            <a:r>
              <a:rPr lang="en-US"/>
              <a:t> dolor</a:t>
            </a:r>
          </a:p>
          <a:p>
            <a:pPr lvl="0"/>
            <a:endParaRPr lang="en-US"/>
          </a:p>
          <a:p>
            <a:pPr lvl="0"/>
            <a:r>
              <a:rPr lang="en-US" err="1"/>
              <a:t>Etu</a:t>
            </a:r>
            <a:r>
              <a:rPr lang="en-US"/>
              <a:t> </a:t>
            </a:r>
            <a:r>
              <a:rPr lang="en-US" err="1"/>
              <a:t>phasellus</a:t>
            </a:r>
            <a:r>
              <a:rPr lang="en-US"/>
              <a:t> ante</a:t>
            </a:r>
          </a:p>
          <a:p>
            <a:pPr lvl="0"/>
            <a:r>
              <a:rPr lang="en-US" err="1"/>
              <a:t>Viverra</a:t>
            </a:r>
            <a:r>
              <a:rPr lang="en-US"/>
              <a:t> dolor eros semper </a:t>
            </a:r>
            <a:r>
              <a:rPr lang="en-US" err="1"/>
              <a:t>sociosqu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,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platea</a:t>
            </a:r>
            <a:r>
              <a:rPr lang="en-US"/>
              <a:t> cursus per </a:t>
            </a:r>
            <a:r>
              <a:rPr lang="en-US" err="1"/>
              <a:t>suscipi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id  </a:t>
            </a:r>
            <a:r>
              <a:rPr lang="en-US" err="1"/>
              <a:t>risus</a:t>
            </a:r>
            <a:r>
              <a:rPr lang="en-US"/>
              <a:t> auctor </a:t>
            </a:r>
            <a:r>
              <a:rPr lang="en-US" err="1"/>
              <a:t>incepto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.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.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97CCDE48-5870-9247-88BF-6577D81C5B9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05400" y="3641912"/>
            <a:ext cx="6134100" cy="23876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err="1"/>
              <a:t>Conubia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primis</a:t>
            </a:r>
            <a:endParaRPr lang="en-US"/>
          </a:p>
          <a:p>
            <a:pPr lvl="0"/>
            <a:r>
              <a:rPr lang="en-US"/>
              <a:t>Libero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fames </a:t>
            </a:r>
            <a:r>
              <a:rPr lang="en-US" err="1"/>
              <a:t>penatib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 diam </a:t>
            </a:r>
            <a:r>
              <a:rPr lang="en-US" err="1"/>
              <a:t>platea</a:t>
            </a:r>
            <a:r>
              <a:rPr lang="en-US"/>
              <a:t>, </a:t>
            </a:r>
            <a:r>
              <a:rPr lang="en-US" err="1"/>
              <a:t>himenaeos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eros </a:t>
            </a:r>
            <a:r>
              <a:rPr lang="en-US" err="1"/>
              <a:t>congue</a:t>
            </a:r>
            <a:r>
              <a:rPr lang="en-US"/>
              <a:t> vestibulum ipsum </a:t>
            </a:r>
            <a:r>
              <a:rPr lang="en-US" err="1"/>
              <a:t>adipiscin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 g ligula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nequ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sociisetur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r>
              <a:rPr lang="en-US" err="1"/>
              <a:t>Quisque</a:t>
            </a:r>
            <a:r>
              <a:rPr lang="en-US"/>
              <a:t> </a:t>
            </a:r>
            <a:r>
              <a:rPr lang="en-US" err="1"/>
              <a:t>laoreet</a:t>
            </a:r>
            <a:endParaRPr lang="en-US"/>
          </a:p>
          <a:p>
            <a:pPr lvl="0"/>
            <a:r>
              <a:rPr lang="en-US" err="1"/>
              <a:t>Viverra</a:t>
            </a:r>
            <a:r>
              <a:rPr lang="en-US"/>
              <a:t> dolor eros semper </a:t>
            </a:r>
            <a:r>
              <a:rPr lang="en-US" err="1"/>
              <a:t>sociosqu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,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platea</a:t>
            </a:r>
            <a:r>
              <a:rPr lang="en-US"/>
              <a:t> cursus per </a:t>
            </a:r>
            <a:r>
              <a:rPr lang="en-US" err="1"/>
              <a:t>sid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auctor </a:t>
            </a:r>
            <a:r>
              <a:rPr lang="en-US" err="1"/>
              <a:t>incepto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r>
              <a:rPr lang="en-US" err="1"/>
              <a:t>Conubia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primis</a:t>
            </a:r>
            <a:endParaRPr lang="en-US"/>
          </a:p>
          <a:p>
            <a:pPr lvl="0"/>
            <a:r>
              <a:rPr lang="en-US"/>
              <a:t>Libero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fames </a:t>
            </a:r>
            <a:r>
              <a:rPr lang="en-US" err="1"/>
              <a:t>penatib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h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endrerit</a:t>
            </a:r>
            <a:r>
              <a:rPr lang="en-US"/>
              <a:t> diam </a:t>
            </a:r>
            <a:r>
              <a:rPr lang="en-US" err="1"/>
              <a:t>platea</a:t>
            </a:r>
            <a:r>
              <a:rPr lang="en-US"/>
              <a:t>, </a:t>
            </a:r>
            <a:r>
              <a:rPr lang="en-US" err="1"/>
              <a:t>himenaeos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eros </a:t>
            </a:r>
            <a:r>
              <a:rPr lang="en-US" err="1"/>
              <a:t>congue</a:t>
            </a:r>
            <a:r>
              <a:rPr lang="en-US"/>
              <a:t> vestibulum ipsum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nequ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sociisetur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.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3EFDA6D-62E3-F246-A342-6203B61F75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4400" y="571500"/>
            <a:ext cx="3009900" cy="2190750"/>
          </a:xfrm>
        </p:spPr>
        <p:txBody>
          <a:bodyPr anchor="b"/>
          <a:lstStyle>
            <a:lvl1pPr>
              <a:lnSpc>
                <a:spcPct val="100000"/>
              </a:lnSpc>
              <a:defRPr sz="2400">
                <a:latin typeface="+mj-lt"/>
              </a:defRPr>
            </a:lvl1pPr>
            <a:lvl2pPr>
              <a:defRPr sz="2400">
                <a:latin typeface="+mj-lt"/>
              </a:defRPr>
            </a:lvl2pPr>
            <a:lvl3pPr>
              <a:defRPr sz="2400">
                <a:latin typeface="+mj-lt"/>
              </a:defRPr>
            </a:lvl3pPr>
            <a:lvl4pPr>
              <a:defRPr sz="2400">
                <a:latin typeface="+mj-lt"/>
              </a:defRPr>
            </a:lvl4pPr>
            <a:lvl5pPr>
              <a:defRPr sz="2400">
                <a:latin typeface="+mj-lt"/>
              </a:defRPr>
            </a:lvl5pPr>
          </a:lstStyle>
          <a:p>
            <a:pPr lvl="0"/>
            <a:r>
              <a:rPr lang="en-US"/>
              <a:t>Click to edit slide heading</a:t>
            </a:r>
          </a:p>
        </p:txBody>
      </p:sp>
    </p:spTree>
    <p:extLst>
      <p:ext uri="{BB962C8B-B14F-4D97-AF65-F5344CB8AC3E}">
        <p14:creationId xmlns:p14="http://schemas.microsoft.com/office/powerpoint/2010/main" val="3247166272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4C579FC4-4B47-4166-A5E6-B77FC3110A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/>
              <a:t>Asıl başlık stilini düzenlemek için tıklayın</a:t>
            </a:r>
            <a:endParaRPr lang="en-US"/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2062A9DF-BDFC-43DD-AE8C-6EF8C9A1F6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  <a:endParaRPr lang="en-US"/>
          </a:p>
        </p:txBody>
      </p:sp>
      <p:sp>
        <p:nvSpPr>
          <p:cNvPr id="4" name="Metin Yer Tutucusu 3">
            <a:extLst>
              <a:ext uri="{FF2B5EF4-FFF2-40B4-BE49-F238E27FC236}">
                <a16:creationId xmlns:a16="http://schemas.microsoft.com/office/drawing/2014/main" id="{766AA3AC-76E2-4819-B2FC-D501668421F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D22DED81-95C2-403A-8B88-18DDE9FF5E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7D5679-8147-4208-AAA0-2764F0861D10}" type="datetimeFigureOut">
              <a:rPr lang="en-US" smtClean="0"/>
              <a:t>12/11/2021</a:t>
            </a:fld>
            <a:endParaRPr lang="en-US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BEB41434-23B3-4DED-90DA-99800F9EE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6CE19918-166E-4D43-B5F6-CBEBEC99E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4941B-0C0C-4015-80F4-71582E9B4E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660871"/>
      </p:ext>
    </p:extLst>
  </p:cSld>
  <p:clrMapOvr>
    <a:masterClrMapping/>
  </p:clrMapOvr>
  <p:hf hd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: Sidebar -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C00475B-A5C6-C849-A5AB-E57F23F3E9B8}"/>
              </a:ext>
            </a:extLst>
          </p:cNvPr>
          <p:cNvSpPr/>
          <p:nvPr userDrawn="1"/>
        </p:nvSpPr>
        <p:spPr bwMode="gray">
          <a:xfrm flipH="1">
            <a:off x="-3" y="0"/>
            <a:ext cx="4953002" cy="6858000"/>
          </a:xfrm>
          <a:prstGeom prst="rect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66FB94F-08D4-3E44-BFE4-F557107D2D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4400" y="2959100"/>
            <a:ext cx="3009900" cy="1714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7 lines running intro text. Morbi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, porta ac </a:t>
            </a:r>
            <a:r>
              <a:rPr lang="en-US" err="1"/>
              <a:t>consectetur</a:t>
            </a:r>
            <a:r>
              <a:rPr lang="en-US"/>
              <a:t> ac, vestibulum at eros. Donec sed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 Sed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t </a:t>
            </a:r>
            <a:r>
              <a:rPr lang="en-US" err="1"/>
              <a:t>lobortis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D17C4CB6-256B-004F-984C-4EAB9A3533F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571500"/>
            <a:ext cx="3009900" cy="2190750"/>
          </a:xfrm>
        </p:spPr>
        <p:txBody>
          <a:bodyPr anchor="b"/>
          <a:lstStyle>
            <a:lvl1pPr>
              <a:lnSpc>
                <a:spcPct val="100000"/>
              </a:lnSpc>
              <a:defRPr sz="2400">
                <a:latin typeface="+mj-lt"/>
              </a:defRPr>
            </a:lvl1pPr>
            <a:lvl2pPr>
              <a:defRPr sz="2400">
                <a:latin typeface="+mj-lt"/>
              </a:defRPr>
            </a:lvl2pPr>
            <a:lvl3pPr>
              <a:defRPr sz="2400">
                <a:latin typeface="+mj-lt"/>
              </a:defRPr>
            </a:lvl3pPr>
            <a:lvl4pPr>
              <a:defRPr sz="2400">
                <a:latin typeface="+mj-lt"/>
              </a:defRPr>
            </a:lvl4pPr>
            <a:lvl5pPr>
              <a:defRPr sz="2400">
                <a:latin typeface="+mj-lt"/>
              </a:defRPr>
            </a:lvl5pPr>
          </a:lstStyle>
          <a:p>
            <a:pPr lvl="0"/>
            <a:r>
              <a:rPr lang="en-US"/>
              <a:t>Click to edit slide heading</a:t>
            </a:r>
          </a:p>
        </p:txBody>
      </p:sp>
    </p:spTree>
    <p:extLst>
      <p:ext uri="{BB962C8B-B14F-4D97-AF65-F5344CB8AC3E}">
        <p14:creationId xmlns:p14="http://schemas.microsoft.com/office/powerpoint/2010/main" val="472467368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: Sidebar - Messag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C00475B-A5C6-C849-A5AB-E57F23F3E9B8}"/>
              </a:ext>
            </a:extLst>
          </p:cNvPr>
          <p:cNvSpPr/>
          <p:nvPr userDrawn="1"/>
        </p:nvSpPr>
        <p:spPr bwMode="gray">
          <a:xfrm flipH="1">
            <a:off x="-3" y="0"/>
            <a:ext cx="4953002" cy="68580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C7C7A6A0-FE3D-104E-8393-4A7A8E30C83F}"/>
              </a:ext>
            </a:extLst>
          </p:cNvPr>
          <p:cNvSpPr>
            <a:spLocks/>
          </p:cNvSpPr>
          <p:nvPr userDrawn="1"/>
        </p:nvSpPr>
        <p:spPr bwMode="auto">
          <a:xfrm>
            <a:off x="914719" y="6286500"/>
            <a:ext cx="3088987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Autofit/>
          </a:bodyPr>
          <a:lstStyle/>
          <a:p>
            <a:fld id="{C84F2FB2-4A16-1542-BD5E-F56870239E74}" type="slidenum">
              <a:rPr lang="en-US" sz="800" smtClean="0">
                <a:solidFill>
                  <a:schemeClr val="bg1">
                    <a:lumMod val="50000"/>
                  </a:schemeClr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pPr/>
              <a:t>‹#›</a:t>
            </a:fld>
            <a:r>
              <a:rPr lang="en-US" sz="800">
                <a:solidFill>
                  <a:schemeClr val="bg1">
                    <a:lumMod val="50000"/>
                  </a:schemeClr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 |  Copyright © 2021 For information contact Deloitte Global. 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149D441B-5A96-9B41-9D87-454944D824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4400" y="2959100"/>
            <a:ext cx="3009900" cy="1714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lvl1pPr>
          </a:lstStyle>
          <a:p>
            <a:pPr lvl="0"/>
            <a:r>
              <a:rPr lang="en-US"/>
              <a:t>7 lines running intro text. Morbi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, porta ac </a:t>
            </a:r>
            <a:r>
              <a:rPr lang="en-US" err="1"/>
              <a:t>consectetur</a:t>
            </a:r>
            <a:r>
              <a:rPr lang="en-US"/>
              <a:t> ac, vestibulum at eros. Donec sed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 Sed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t </a:t>
            </a:r>
            <a:r>
              <a:rPr lang="en-US" err="1"/>
              <a:t>lobortis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E116E8C8-C57E-3C4C-ACC0-344B7AA9A17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19800" y="1212850"/>
            <a:ext cx="5219700" cy="8509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lorem </a:t>
            </a:r>
            <a:r>
              <a:rPr lang="en-US" err="1"/>
              <a:t>primisetua</a:t>
            </a:r>
            <a:r>
              <a:rPr lang="en-US"/>
              <a:t>, </a:t>
            </a:r>
            <a:r>
              <a:rPr lang="en-US" err="1"/>
              <a:t>senectus</a:t>
            </a:r>
            <a:r>
              <a:rPr lang="en-US"/>
              <a:t> </a:t>
            </a:r>
            <a:r>
              <a:rPr lang="en-US" err="1"/>
              <a:t>habitasse</a:t>
            </a:r>
            <a:r>
              <a:rPr lang="en-US"/>
              <a:t> </a:t>
            </a:r>
            <a:r>
              <a:rPr lang="en-US" err="1"/>
              <a:t>lectusetu</a:t>
            </a:r>
            <a:r>
              <a:rPr lang="en-US"/>
              <a:t> </a:t>
            </a:r>
            <a:r>
              <a:rPr lang="en-US" err="1"/>
              <a:t>doler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,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 </a:t>
            </a:r>
            <a:r>
              <a:rPr lang="en-US" err="1"/>
              <a:t>pellentesque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mi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Massa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fringilla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=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class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dictumst</a:t>
            </a:r>
            <a:r>
              <a:rPr lang="en-US"/>
              <a:t>, </a:t>
            </a:r>
            <a:r>
              <a:rPr lang="en-US" err="1"/>
              <a:t>aenean</a:t>
            </a:r>
            <a:r>
              <a:rPr lang="en-US"/>
              <a:t> non a in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.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A5647CB6-FC63-DF44-8496-CE9754E13D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19800" y="3289299"/>
            <a:ext cx="5219700" cy="164577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/>
            </a:lvl1pPr>
          </a:lstStyle>
          <a:p>
            <a:pPr lvl="0"/>
            <a:r>
              <a:rPr lang="en-US"/>
              <a:t>Felis </a:t>
            </a:r>
            <a:r>
              <a:rPr lang="en-US" err="1"/>
              <a:t>blandit</a:t>
            </a:r>
            <a:r>
              <a:rPr lang="en-US"/>
              <a:t> cursus</a:t>
            </a:r>
            <a:br>
              <a:rPr lang="en-US"/>
            </a:b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class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dictumst</a:t>
            </a:r>
            <a:r>
              <a:rPr lang="en-US"/>
              <a:t>, </a:t>
            </a:r>
            <a:r>
              <a:rPr lang="en-US" err="1"/>
              <a:t>aenean</a:t>
            </a:r>
            <a:r>
              <a:rPr lang="en-US"/>
              <a:t> non a in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nulla.Etu</a:t>
            </a:r>
            <a:r>
              <a:rPr lang="en-US"/>
              <a:t> </a:t>
            </a:r>
            <a:r>
              <a:rPr lang="en-US" err="1"/>
              <a:t>phasellus</a:t>
            </a:r>
            <a:r>
              <a:rPr lang="en-US"/>
              <a:t> ante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cum </a:t>
            </a:r>
            <a:r>
              <a:rPr lang="en-US" err="1"/>
              <a:t>risus</a:t>
            </a:r>
            <a:r>
              <a:rPr lang="en-US"/>
              <a:t> dolor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aliquam</a:t>
            </a:r>
            <a:r>
              <a:rPr lang="en-US"/>
              <a:t>, integer </a:t>
            </a:r>
            <a:r>
              <a:rPr lang="en-US" err="1"/>
              <a:t>placerat</a:t>
            </a:r>
            <a:r>
              <a:rPr lang="en-US"/>
              <a:t> et </a:t>
            </a:r>
            <a:r>
              <a:rPr lang="en-US" err="1"/>
              <a:t>turpis</a:t>
            </a:r>
            <a:r>
              <a:rPr lang="en-US"/>
              <a:t> mi eros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taciti</a:t>
            </a:r>
            <a:r>
              <a:rPr lang="en-US"/>
              <a:t>, </a:t>
            </a:r>
            <a:r>
              <a:rPr lang="en-US" err="1"/>
              <a:t>vehicula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litora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ligula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3E69F53-FE35-D641-B88F-0A68E2BCA04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571500"/>
            <a:ext cx="3009900" cy="2190750"/>
          </a:xfrm>
        </p:spPr>
        <p:txBody>
          <a:bodyPr anchor="b"/>
          <a:lstStyle>
            <a:lvl1pPr>
              <a:lnSpc>
                <a:spcPct val="100000"/>
              </a:lnSpc>
              <a:defRPr sz="2400">
                <a:latin typeface="+mj-lt"/>
              </a:defRPr>
            </a:lvl1pPr>
            <a:lvl2pPr>
              <a:defRPr sz="2400">
                <a:latin typeface="+mj-lt"/>
              </a:defRPr>
            </a:lvl2pPr>
            <a:lvl3pPr>
              <a:defRPr sz="2400">
                <a:latin typeface="+mj-lt"/>
              </a:defRPr>
            </a:lvl3pPr>
            <a:lvl4pPr>
              <a:defRPr sz="2400">
                <a:latin typeface="+mj-lt"/>
              </a:defRPr>
            </a:lvl4pPr>
            <a:lvl5pPr>
              <a:defRPr sz="2400">
                <a:latin typeface="+mj-lt"/>
              </a:defRPr>
            </a:lvl5pPr>
          </a:lstStyle>
          <a:p>
            <a:pPr lvl="0"/>
            <a:r>
              <a:rPr lang="en-US"/>
              <a:t>Click to edit slide heading</a:t>
            </a:r>
          </a:p>
        </p:txBody>
      </p:sp>
    </p:spTree>
    <p:extLst>
      <p:ext uri="{BB962C8B-B14F-4D97-AF65-F5344CB8AC3E}">
        <p14:creationId xmlns:p14="http://schemas.microsoft.com/office/powerpoint/2010/main" val="4224262767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itle -  Messag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brass&#10;&#10;Description automatically generated">
            <a:extLst>
              <a:ext uri="{FF2B5EF4-FFF2-40B4-BE49-F238E27FC236}">
                <a16:creationId xmlns:a16="http://schemas.microsoft.com/office/drawing/2014/main" id="{1B77CA73-0130-154D-8A96-547238CAD0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712" y="3832412"/>
            <a:ext cx="4960927" cy="3025587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9092844-EC15-E84A-9D50-1ADA3C35DAC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44667" y="3845112"/>
            <a:ext cx="5694833" cy="244138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/>
            </a:lvl1pPr>
          </a:lstStyle>
          <a:p>
            <a:pPr lvl="0"/>
            <a:r>
              <a:rPr lang="en-US" err="1"/>
              <a:t>Conubia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primis</a:t>
            </a:r>
            <a:endParaRPr lang="en-US"/>
          </a:p>
          <a:p>
            <a:pPr lvl="0"/>
            <a:r>
              <a:rPr lang="en-US"/>
              <a:t>Libero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fames </a:t>
            </a:r>
            <a:r>
              <a:rPr lang="en-US" err="1"/>
              <a:t>penatib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 diam </a:t>
            </a:r>
            <a:r>
              <a:rPr lang="en-US" err="1"/>
              <a:t>platea</a:t>
            </a:r>
            <a:r>
              <a:rPr lang="en-US"/>
              <a:t>, </a:t>
            </a:r>
            <a:r>
              <a:rPr lang="en-US" err="1"/>
              <a:t>himenaeos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eros </a:t>
            </a:r>
            <a:r>
              <a:rPr lang="en-US" err="1"/>
              <a:t>congue</a:t>
            </a:r>
            <a:r>
              <a:rPr lang="en-US"/>
              <a:t> vestibulum ipsum </a:t>
            </a:r>
            <a:r>
              <a:rPr lang="en-US" err="1"/>
              <a:t>adipiscin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 g ligula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nequ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sociisetur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.</a:t>
            </a:r>
          </a:p>
          <a:p>
            <a:pPr lvl="0"/>
            <a:r>
              <a:rPr lang="en-US" err="1"/>
              <a:t>Quisque</a:t>
            </a:r>
            <a:r>
              <a:rPr lang="en-US"/>
              <a:t> </a:t>
            </a:r>
            <a:r>
              <a:rPr lang="en-US" err="1"/>
              <a:t>laoreet</a:t>
            </a:r>
            <a:endParaRPr lang="en-US"/>
          </a:p>
          <a:p>
            <a:pPr lvl="0"/>
            <a:r>
              <a:rPr lang="en-US" err="1"/>
              <a:t>Viverra</a:t>
            </a:r>
            <a:r>
              <a:rPr lang="en-US"/>
              <a:t> dolor eros semper </a:t>
            </a:r>
            <a:r>
              <a:rPr lang="en-US" err="1"/>
              <a:t>sociosqu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,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platea</a:t>
            </a:r>
            <a:r>
              <a:rPr lang="en-US"/>
              <a:t> cursus per </a:t>
            </a:r>
            <a:r>
              <a:rPr lang="en-US" err="1"/>
              <a:t>sid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auctor </a:t>
            </a:r>
            <a:r>
              <a:rPr lang="en-US" err="1"/>
              <a:t>incepto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.</a:t>
            </a:r>
          </a:p>
          <a:p>
            <a:pPr lvl="0"/>
            <a:r>
              <a:rPr lang="en-US" err="1"/>
              <a:t>Conubia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primis</a:t>
            </a:r>
            <a:endParaRPr lang="en-US"/>
          </a:p>
          <a:p>
            <a:pPr lvl="0"/>
            <a:r>
              <a:rPr lang="en-US"/>
              <a:t>Libero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fames </a:t>
            </a:r>
            <a:r>
              <a:rPr lang="en-US" err="1"/>
              <a:t>penatib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h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endrerit</a:t>
            </a:r>
            <a:r>
              <a:rPr lang="en-US"/>
              <a:t> diam </a:t>
            </a:r>
            <a:r>
              <a:rPr lang="en-US" err="1"/>
              <a:t>platea</a:t>
            </a:r>
            <a:r>
              <a:rPr lang="en-US"/>
              <a:t>, </a:t>
            </a:r>
            <a:r>
              <a:rPr lang="en-US" err="1"/>
              <a:t>himenaeos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eros </a:t>
            </a:r>
            <a:r>
              <a:rPr lang="en-US" err="1"/>
              <a:t>congue</a:t>
            </a:r>
            <a:r>
              <a:rPr lang="en-US"/>
              <a:t> vestibulum ipsum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nequ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sociisetur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66A2327-AE66-4449-BA17-9DA272794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4400" y="279400"/>
            <a:ext cx="10325100" cy="7874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/>
              <a:t>Your headline goes here when you’re ready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066A6DCC-A893-B249-AAB2-1B0DD5F357D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400" y="1835047"/>
            <a:ext cx="9296400" cy="96333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lorem </a:t>
            </a:r>
            <a:r>
              <a:rPr lang="en-US" err="1"/>
              <a:t>primisetua</a:t>
            </a:r>
            <a:r>
              <a:rPr lang="en-US"/>
              <a:t>, </a:t>
            </a:r>
            <a:r>
              <a:rPr lang="en-US" err="1"/>
              <a:t>senectus</a:t>
            </a:r>
            <a:r>
              <a:rPr lang="en-US"/>
              <a:t> </a:t>
            </a:r>
            <a:r>
              <a:rPr lang="en-US" err="1"/>
              <a:t>habitasse</a:t>
            </a:r>
            <a:r>
              <a:rPr lang="en-US"/>
              <a:t> </a:t>
            </a:r>
            <a:r>
              <a:rPr lang="en-US" err="1"/>
              <a:t>lectusetu</a:t>
            </a:r>
            <a:r>
              <a:rPr lang="en-US"/>
              <a:t> </a:t>
            </a:r>
            <a:r>
              <a:rPr lang="en-US" err="1"/>
              <a:t>doler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,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 </a:t>
            </a:r>
            <a:r>
              <a:rPr lang="en-US" err="1"/>
              <a:t>pellentesque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mi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Massa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fringilla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=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class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dictumst</a:t>
            </a:r>
            <a:r>
              <a:rPr lang="en-US"/>
              <a:t>, </a:t>
            </a:r>
            <a:r>
              <a:rPr lang="en-US" err="1"/>
              <a:t>aenean</a:t>
            </a:r>
            <a:r>
              <a:rPr lang="en-US"/>
              <a:t> non a in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530987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itle -  Messaging -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E72E9CE-09AF-F84C-AD04-9D83DD83BD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071731"/>
            <a:ext cx="5383369" cy="4786269"/>
          </a:xfrm>
          <a:prstGeom prst="rect">
            <a:avLst/>
          </a:prstGeom>
        </p:spPr>
      </p:pic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163E3A62-D110-124C-BFA5-4BCA8D567D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400" y="1835047"/>
            <a:ext cx="9296400" cy="96333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lorem </a:t>
            </a:r>
            <a:r>
              <a:rPr lang="en-US" err="1"/>
              <a:t>primisetua</a:t>
            </a:r>
            <a:r>
              <a:rPr lang="en-US"/>
              <a:t>, </a:t>
            </a:r>
            <a:r>
              <a:rPr lang="en-US" err="1"/>
              <a:t>senectus</a:t>
            </a:r>
            <a:r>
              <a:rPr lang="en-US"/>
              <a:t> </a:t>
            </a:r>
            <a:r>
              <a:rPr lang="en-US" err="1"/>
              <a:t>habitasse</a:t>
            </a:r>
            <a:r>
              <a:rPr lang="en-US"/>
              <a:t> </a:t>
            </a:r>
            <a:r>
              <a:rPr lang="en-US" err="1"/>
              <a:t>lectusetu</a:t>
            </a:r>
            <a:r>
              <a:rPr lang="en-US"/>
              <a:t> </a:t>
            </a:r>
            <a:r>
              <a:rPr lang="en-US" err="1"/>
              <a:t>doler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,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 </a:t>
            </a:r>
            <a:r>
              <a:rPr lang="en-US" err="1"/>
              <a:t>pellentesque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mi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Massa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fringilla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=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class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dictumst</a:t>
            </a:r>
            <a:r>
              <a:rPr lang="en-US"/>
              <a:t>, </a:t>
            </a:r>
            <a:r>
              <a:rPr lang="en-US" err="1"/>
              <a:t>aenean</a:t>
            </a:r>
            <a:r>
              <a:rPr lang="en-US"/>
              <a:t> non a in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.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90194FF2-8221-9649-9FD2-0C3EDEDE01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4400" y="279400"/>
            <a:ext cx="10325100" cy="7874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/>
              <a:t>Your headline goes here when you’re ready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D5C972E0-FFF8-EB46-9B7C-37CDB763A6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44667" y="3845112"/>
            <a:ext cx="5694833" cy="244138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/>
            </a:lvl1pPr>
          </a:lstStyle>
          <a:p>
            <a:pPr lvl="0"/>
            <a:r>
              <a:rPr lang="en-US" err="1"/>
              <a:t>Conubia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primis</a:t>
            </a:r>
            <a:endParaRPr lang="en-US"/>
          </a:p>
          <a:p>
            <a:pPr lvl="0"/>
            <a:r>
              <a:rPr lang="en-US"/>
              <a:t>Libero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fames </a:t>
            </a:r>
            <a:r>
              <a:rPr lang="en-US" err="1"/>
              <a:t>penatib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 diam </a:t>
            </a:r>
            <a:r>
              <a:rPr lang="en-US" err="1"/>
              <a:t>platea</a:t>
            </a:r>
            <a:r>
              <a:rPr lang="en-US"/>
              <a:t>, </a:t>
            </a:r>
            <a:r>
              <a:rPr lang="en-US" err="1"/>
              <a:t>himenaeos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eros </a:t>
            </a:r>
            <a:r>
              <a:rPr lang="en-US" err="1"/>
              <a:t>congue</a:t>
            </a:r>
            <a:r>
              <a:rPr lang="en-US"/>
              <a:t> vestibulum ipsum </a:t>
            </a:r>
            <a:r>
              <a:rPr lang="en-US" err="1"/>
              <a:t>adipiscin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 g ligula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nequ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sociisetur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.</a:t>
            </a:r>
          </a:p>
          <a:p>
            <a:pPr lvl="0"/>
            <a:r>
              <a:rPr lang="en-US" err="1"/>
              <a:t>Quisque</a:t>
            </a:r>
            <a:r>
              <a:rPr lang="en-US"/>
              <a:t> </a:t>
            </a:r>
            <a:r>
              <a:rPr lang="en-US" err="1"/>
              <a:t>laoreet</a:t>
            </a:r>
            <a:endParaRPr lang="en-US"/>
          </a:p>
          <a:p>
            <a:pPr lvl="0"/>
            <a:r>
              <a:rPr lang="en-US" err="1"/>
              <a:t>Viverra</a:t>
            </a:r>
            <a:r>
              <a:rPr lang="en-US"/>
              <a:t> dolor eros semper </a:t>
            </a:r>
            <a:r>
              <a:rPr lang="en-US" err="1"/>
              <a:t>sociosqu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,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platea</a:t>
            </a:r>
            <a:r>
              <a:rPr lang="en-US"/>
              <a:t> cursus per </a:t>
            </a:r>
            <a:r>
              <a:rPr lang="en-US" err="1"/>
              <a:t>sid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auctor </a:t>
            </a:r>
            <a:r>
              <a:rPr lang="en-US" err="1"/>
              <a:t>incepto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.</a:t>
            </a:r>
          </a:p>
          <a:p>
            <a:pPr lvl="0"/>
            <a:r>
              <a:rPr lang="en-US" err="1"/>
              <a:t>Conubia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primis</a:t>
            </a:r>
            <a:endParaRPr lang="en-US"/>
          </a:p>
          <a:p>
            <a:pPr lvl="0"/>
            <a:r>
              <a:rPr lang="en-US"/>
              <a:t>Libero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fames </a:t>
            </a:r>
            <a:r>
              <a:rPr lang="en-US" err="1"/>
              <a:t>penatib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h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endrerit</a:t>
            </a:r>
            <a:r>
              <a:rPr lang="en-US"/>
              <a:t> diam </a:t>
            </a:r>
            <a:r>
              <a:rPr lang="en-US" err="1"/>
              <a:t>platea</a:t>
            </a:r>
            <a:r>
              <a:rPr lang="en-US"/>
              <a:t>, </a:t>
            </a:r>
            <a:r>
              <a:rPr lang="en-US" err="1"/>
              <a:t>himenaeos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eros </a:t>
            </a:r>
            <a:r>
              <a:rPr lang="en-US" err="1"/>
              <a:t>congue</a:t>
            </a:r>
            <a:r>
              <a:rPr lang="en-US"/>
              <a:t> vestibulum ipsum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nequ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sociisetur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5813990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: No Content -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76A9572A-FD9C-7440-999F-B3ECDB61E8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4400" y="279400"/>
            <a:ext cx="10325100" cy="7874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/>
              <a:t>Your headline goes here when you’re ready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3B85877-16F3-144E-B5A4-F6A0DADFC9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4400" y="1184239"/>
            <a:ext cx="9296400" cy="5842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lvl1pPr>
          </a:lstStyle>
          <a:p>
            <a:pPr lvl="0"/>
            <a:r>
              <a:rPr lang="en-US"/>
              <a:t>2 lines running intro text. Morbi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, porta ac </a:t>
            </a:r>
            <a:r>
              <a:rPr lang="en-US" err="1"/>
              <a:t>consectetur</a:t>
            </a:r>
            <a:r>
              <a:rPr lang="en-US"/>
              <a:t> ac, vestibulum at eros. Donec sed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 Sed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t </a:t>
            </a:r>
            <a:r>
              <a:rPr lang="en-US" err="1"/>
              <a:t>lobortis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0746449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idebar - Story Messag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indoor, table, sitting, cake&#10;&#10;Description automatically generated">
            <a:extLst>
              <a:ext uri="{FF2B5EF4-FFF2-40B4-BE49-F238E27FC236}">
                <a16:creationId xmlns:a16="http://schemas.microsoft.com/office/drawing/2014/main" id="{034A8E13-7D2A-C24B-8479-D9FD009C0B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943475" cy="6868886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BAB6B2-829B-074B-A309-B3978A8AE2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9800" y="819150"/>
            <a:ext cx="5219700" cy="5219700"/>
          </a:xfrm>
        </p:spPr>
        <p:txBody>
          <a:bodyPr numCol="2" spcCol="4572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err="1"/>
              <a:t>Vivamus</a:t>
            </a:r>
            <a:r>
              <a:rPr lang="en-US"/>
              <a:t> integer non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taciti</a:t>
            </a:r>
            <a:r>
              <a:rPr lang="en-US"/>
              <a:t> </a:t>
            </a:r>
            <a:r>
              <a:rPr lang="en-US" err="1"/>
              <a:t>m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at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sit, </a:t>
            </a:r>
            <a:r>
              <a:rPr lang="en-US" err="1"/>
              <a:t>euismod</a:t>
            </a:r>
            <a:r>
              <a:rPr lang="en-US"/>
              <a:t> libero </a:t>
            </a:r>
            <a:r>
              <a:rPr lang="en-US" err="1"/>
              <a:t>facilisi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cursus gravida sociis </a:t>
            </a:r>
            <a:r>
              <a:rPr lang="en-US" err="1"/>
              <a:t>erat</a:t>
            </a:r>
            <a:r>
              <a:rPr lang="en-US"/>
              <a:t> ante,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dapibus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curabitur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Vivamus</a:t>
            </a:r>
            <a:r>
              <a:rPr lang="en-US"/>
              <a:t> integer non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taciti</a:t>
            </a:r>
            <a:r>
              <a:rPr lang="en-US"/>
              <a:t> </a:t>
            </a:r>
            <a:r>
              <a:rPr lang="en-US" err="1"/>
              <a:t>m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at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sit, </a:t>
            </a:r>
            <a:r>
              <a:rPr lang="en-US" err="1"/>
              <a:t>euismod</a:t>
            </a:r>
            <a:r>
              <a:rPr lang="en-US"/>
              <a:t> libero </a:t>
            </a:r>
            <a:r>
              <a:rPr lang="en-US" err="1"/>
              <a:t>facilisi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cursus gravida sociis </a:t>
            </a:r>
            <a:r>
              <a:rPr lang="en-US" err="1"/>
              <a:t>erat</a:t>
            </a:r>
            <a:r>
              <a:rPr lang="en-US"/>
              <a:t> ante,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nullam</a:t>
            </a:r>
            <a:r>
              <a:rPr lang="en-US"/>
              <a:t> integer non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taciti</a:t>
            </a:r>
            <a:r>
              <a:rPr lang="en-US"/>
              <a:t> </a:t>
            </a:r>
            <a:r>
              <a:rPr lang="en-US" err="1"/>
              <a:t>m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at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sit, </a:t>
            </a:r>
            <a:r>
              <a:rPr lang="en-US" err="1"/>
              <a:t>euismod</a:t>
            </a:r>
            <a:r>
              <a:rPr lang="en-US"/>
              <a:t> libero </a:t>
            </a:r>
            <a:r>
              <a:rPr lang="en-US" err="1"/>
              <a:t>facilisi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cursus gravida sociis </a:t>
            </a:r>
            <a:r>
              <a:rPr lang="en-US" err="1"/>
              <a:t>erat</a:t>
            </a:r>
            <a:r>
              <a:rPr lang="en-US"/>
              <a:t> ante,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dapibus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d.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Vivamus</a:t>
            </a:r>
            <a:r>
              <a:rPr lang="en-US"/>
              <a:t> integer non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taciti</a:t>
            </a:r>
            <a:r>
              <a:rPr lang="en-US"/>
              <a:t> </a:t>
            </a:r>
            <a:r>
              <a:rPr lang="en-US" err="1"/>
              <a:t>m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at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sit, </a:t>
            </a:r>
            <a:r>
              <a:rPr lang="en-US" err="1"/>
              <a:t>euismod</a:t>
            </a:r>
            <a:r>
              <a:rPr lang="en-US"/>
              <a:t> libero </a:t>
            </a:r>
            <a:r>
              <a:rPr lang="en-US" err="1"/>
              <a:t>facilisi</a:t>
            </a:r>
            <a:r>
              <a:rPr lang="en-US"/>
              <a:t> patent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cursus gravida sociis </a:t>
            </a:r>
            <a:r>
              <a:rPr lang="en-US" err="1"/>
              <a:t>erat</a:t>
            </a:r>
            <a:r>
              <a:rPr lang="en-US"/>
              <a:t> ante,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dapibus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curabitur</a:t>
            </a:r>
            <a:endParaRPr lang="en-US"/>
          </a:p>
          <a:p>
            <a:pPr lvl="0"/>
            <a:r>
              <a:rPr lang="en-US" err="1"/>
              <a:t>Vivamus</a:t>
            </a:r>
            <a:r>
              <a:rPr lang="en-US"/>
              <a:t> integer non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taciti</a:t>
            </a:r>
            <a:r>
              <a:rPr lang="en-US"/>
              <a:t> </a:t>
            </a:r>
            <a:r>
              <a:rPr lang="en-US" err="1"/>
              <a:t>m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at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sit, </a:t>
            </a:r>
            <a:r>
              <a:rPr lang="en-US" err="1"/>
              <a:t>euismod</a:t>
            </a:r>
            <a:r>
              <a:rPr lang="en-US"/>
              <a:t> libero </a:t>
            </a:r>
            <a:r>
              <a:rPr lang="en-US" err="1"/>
              <a:t>facilisi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cursus gravida sociis </a:t>
            </a:r>
            <a:r>
              <a:rPr lang="en-US" err="1"/>
              <a:t>erat</a:t>
            </a:r>
            <a:r>
              <a:rPr lang="en-US"/>
              <a:t> ante,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dapibus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curabitur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Vivamus</a:t>
            </a:r>
            <a:r>
              <a:rPr lang="en-US"/>
              <a:t> integer non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taciti</a:t>
            </a:r>
            <a:r>
              <a:rPr lang="en-US"/>
              <a:t> </a:t>
            </a:r>
            <a:r>
              <a:rPr lang="en-US" err="1"/>
              <a:t>m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at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sit, </a:t>
            </a:r>
            <a:r>
              <a:rPr lang="en-US" err="1"/>
              <a:t>euismod</a:t>
            </a:r>
            <a:r>
              <a:rPr lang="en-US"/>
              <a:t> libero </a:t>
            </a:r>
            <a:r>
              <a:rPr lang="en-US" err="1"/>
              <a:t>facilisi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cursus gravida sociis </a:t>
            </a:r>
            <a:r>
              <a:rPr lang="en-US" err="1"/>
              <a:t>erat</a:t>
            </a:r>
            <a:r>
              <a:rPr lang="en-US"/>
              <a:t> ante,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dapibus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curabitur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648376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idebar - Messag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C0537C-4D1C-874D-BD53-D50C5EC8C7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40188" y="5384054"/>
            <a:ext cx="5699312" cy="902446"/>
          </a:xfrm>
        </p:spPr>
        <p:txBody>
          <a:bodyPr>
            <a:noAutofit/>
          </a:bodyPr>
          <a:lstStyle>
            <a:lvl1pPr>
              <a:lnSpc>
                <a:spcPct val="120000"/>
              </a:lnSpc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2 lines running intro text. Morbi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, porta ac </a:t>
            </a:r>
            <a:r>
              <a:rPr lang="en-US" err="1"/>
              <a:t>consectetur</a:t>
            </a:r>
            <a:r>
              <a:rPr lang="en-US"/>
              <a:t> ac, vestibulum at eros. Donec sed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 Sed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t lobo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 Sed </a:t>
            </a:r>
            <a:r>
              <a:rPr lang="en-US" err="1"/>
              <a:t>rtis</a:t>
            </a:r>
            <a:r>
              <a:rPr lang="en-US"/>
              <a:t>.</a:t>
            </a:r>
          </a:p>
        </p:txBody>
      </p:sp>
      <p:pic>
        <p:nvPicPr>
          <p:cNvPr id="7" name="Picture 6" descr="A picture containing table&#10;&#10;Description automatically generated">
            <a:extLst>
              <a:ext uri="{FF2B5EF4-FFF2-40B4-BE49-F238E27FC236}">
                <a16:creationId xmlns:a16="http://schemas.microsoft.com/office/drawing/2014/main" id="{B4ACCC21-CBD6-2A47-930B-BB9C62D014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943475" cy="6858000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BAB6B2-829B-074B-A309-B3978A8AE2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13295" y="1969994"/>
            <a:ext cx="5726206" cy="283116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en-US" err="1"/>
              <a:t>Vivamus</a:t>
            </a:r>
            <a:r>
              <a:rPr lang="en-US"/>
              <a:t> integer non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taciti</a:t>
            </a:r>
            <a:r>
              <a:rPr lang="en-US"/>
              <a:t> </a:t>
            </a:r>
            <a:r>
              <a:rPr lang="en-US" err="1"/>
              <a:t>m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at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sit, </a:t>
            </a:r>
            <a:r>
              <a:rPr lang="en-US" err="1"/>
              <a:t>euismod</a:t>
            </a:r>
            <a:r>
              <a:rPr lang="en-US"/>
              <a:t> libero </a:t>
            </a:r>
            <a:r>
              <a:rPr lang="en-US" err="1"/>
              <a:t>facilisi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cursus gravida sociis </a:t>
            </a:r>
            <a:r>
              <a:rPr lang="en-US" err="1"/>
              <a:t>erat</a:t>
            </a:r>
            <a:r>
              <a:rPr lang="en-US"/>
              <a:t> ante,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dapibus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d.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Vivamus</a:t>
            </a:r>
            <a:r>
              <a:rPr lang="en-US"/>
              <a:t> integer non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taciti</a:t>
            </a:r>
            <a:r>
              <a:rPr lang="en-US"/>
              <a:t> </a:t>
            </a:r>
            <a:r>
              <a:rPr lang="en-US" err="1"/>
              <a:t>m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at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sit, </a:t>
            </a:r>
            <a:r>
              <a:rPr lang="en-US" err="1"/>
              <a:t>euismod</a:t>
            </a:r>
            <a:r>
              <a:rPr lang="en-US"/>
              <a:t> libero </a:t>
            </a:r>
            <a:r>
              <a:rPr lang="en-US" err="1"/>
              <a:t>facilisi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cursus gravida sociis </a:t>
            </a:r>
            <a:r>
              <a:rPr lang="en-US" err="1"/>
              <a:t>erat</a:t>
            </a:r>
            <a:r>
              <a:rPr lang="en-US"/>
              <a:t> ante,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dapibus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d.</a:t>
            </a:r>
          </a:p>
          <a:p>
            <a:pPr lvl="0"/>
            <a:endParaRPr lang="en-US"/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170082E1-03E6-5B4B-9CC7-6A3531BF6C2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486400" y="279400"/>
            <a:ext cx="6241312" cy="7874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en-US"/>
              <a:t>Your headline goes here when you’re ready</a:t>
            </a:r>
          </a:p>
        </p:txBody>
      </p:sp>
    </p:spTree>
    <p:extLst>
      <p:ext uri="{BB962C8B-B14F-4D97-AF65-F5344CB8AC3E}">
        <p14:creationId xmlns:p14="http://schemas.microsoft.com/office/powerpoint/2010/main" val="402855612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: No Content -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3FE79D3-B21C-A940-9413-05C2C3557E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4400" y="812800"/>
            <a:ext cx="10325100" cy="7874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/>
              <a:t>Click to edit Master title s edit Master title style 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21B08B97-243B-5443-A860-23EDD9E8F9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4400" y="1724535"/>
            <a:ext cx="9296400" cy="5842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lvl1pPr>
          </a:lstStyle>
          <a:p>
            <a:pPr lvl="0"/>
            <a:r>
              <a:rPr lang="en-US"/>
              <a:t>2 lines running intro text. Morbi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, porta ac </a:t>
            </a:r>
            <a:r>
              <a:rPr lang="en-US" err="1"/>
              <a:t>consectetur</a:t>
            </a:r>
            <a:r>
              <a:rPr lang="en-US"/>
              <a:t> ac, vestibulum at eros. Donec sed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 Sed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t </a:t>
            </a:r>
            <a:r>
              <a:rPr lang="en-US" err="1"/>
              <a:t>lobortis</a:t>
            </a:r>
            <a:r>
              <a:rPr lang="en-US"/>
              <a:t>.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7CA39D1-D445-044A-AFA2-D1843D893C5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6512" y="495992"/>
            <a:ext cx="569228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00" baseline="0">
                <a:solidFill>
                  <a:schemeClr val="tx2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136CB96-E742-444A-B55F-00D82103A3F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86247" y="495992"/>
            <a:ext cx="3488042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50" baseline="0">
                <a:solidFill>
                  <a:schemeClr val="tx2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DELOITTE DIGITAL</a:t>
            </a:r>
          </a:p>
        </p:txBody>
      </p:sp>
    </p:spTree>
    <p:extLst>
      <p:ext uri="{BB962C8B-B14F-4D97-AF65-F5344CB8AC3E}">
        <p14:creationId xmlns:p14="http://schemas.microsoft.com/office/powerpoint/2010/main" val="362807406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: 3 Column -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D1FA0000-C94E-E149-9623-BD66BFB064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4400" y="812800"/>
            <a:ext cx="10325100" cy="7874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/>
              <a:t>Click to edit Master title s edit Master title style 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8B5101F-02F4-F644-B829-A903E6C5AF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4400" y="1724535"/>
            <a:ext cx="9296400" cy="5842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lvl1pPr>
          </a:lstStyle>
          <a:p>
            <a:pPr lvl="0"/>
            <a:r>
              <a:rPr lang="en-US"/>
              <a:t>2 lines running intro text. Morbi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, porta ac </a:t>
            </a:r>
            <a:r>
              <a:rPr lang="en-US" err="1"/>
              <a:t>consectetur</a:t>
            </a:r>
            <a:r>
              <a:rPr lang="en-US"/>
              <a:t> ac, vestibulum at eros. Donec sed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 Sed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t </a:t>
            </a:r>
            <a:r>
              <a:rPr lang="en-US" err="1"/>
              <a:t>lobortis</a:t>
            </a:r>
            <a:r>
              <a:rPr lang="en-US"/>
              <a:t>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91C994-DD05-CB44-8508-2A07253626F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4399" y="2675965"/>
            <a:ext cx="3092823" cy="3321610"/>
          </a:xfrm>
        </p:spPr>
        <p:txBody>
          <a:bodyPr/>
          <a:lstStyle>
            <a:lvl1pPr>
              <a:defRPr sz="1000">
                <a:latin typeface="+mn-lt"/>
              </a:defRPr>
            </a:lvl1pPr>
            <a:lvl2pPr>
              <a:defRPr sz="1000">
                <a:latin typeface="+mn-lt"/>
              </a:defRPr>
            </a:lvl2pPr>
            <a:lvl3pPr>
              <a:defRPr sz="1000">
                <a:latin typeface="+mn-lt"/>
              </a:defRPr>
            </a:lvl3pPr>
            <a:lvl4pPr>
              <a:defRPr sz="100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Felis </a:t>
            </a:r>
            <a:r>
              <a:rPr lang="en-US" err="1"/>
              <a:t>blandit</a:t>
            </a:r>
            <a:r>
              <a:rPr lang="en-US"/>
              <a:t> cursus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class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dictumst</a:t>
            </a:r>
            <a:r>
              <a:rPr lang="en-US"/>
              <a:t>, </a:t>
            </a:r>
            <a:r>
              <a:rPr lang="en-US" err="1"/>
              <a:t>aenean</a:t>
            </a:r>
            <a:r>
              <a:rPr lang="en-US"/>
              <a:t> non a in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nulla.Etu</a:t>
            </a:r>
            <a:r>
              <a:rPr lang="en-US"/>
              <a:t> </a:t>
            </a:r>
            <a:r>
              <a:rPr lang="en-US" err="1"/>
              <a:t>phasellus</a:t>
            </a:r>
            <a:r>
              <a:rPr lang="en-US"/>
              <a:t> ante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cum </a:t>
            </a:r>
            <a:r>
              <a:rPr lang="en-US" err="1"/>
              <a:t>risus</a:t>
            </a:r>
            <a:r>
              <a:rPr lang="en-US"/>
              <a:t> dolor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aliquam</a:t>
            </a:r>
            <a:r>
              <a:rPr lang="en-US"/>
              <a:t>, integer </a:t>
            </a:r>
            <a:r>
              <a:rPr lang="en-US" err="1"/>
              <a:t>placerat</a:t>
            </a:r>
            <a:r>
              <a:rPr lang="en-US"/>
              <a:t> et </a:t>
            </a:r>
            <a:r>
              <a:rPr lang="en-US" err="1"/>
              <a:t>turpis</a:t>
            </a:r>
            <a:r>
              <a:rPr lang="en-US"/>
              <a:t> mi eros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taciti</a:t>
            </a:r>
            <a:r>
              <a:rPr lang="en-US"/>
              <a:t>, </a:t>
            </a:r>
            <a:r>
              <a:rPr lang="en-US" err="1"/>
              <a:t>vehicula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litora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ligula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</a:t>
            </a:r>
          </a:p>
          <a:p>
            <a:pPr lvl="0"/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lorem </a:t>
            </a:r>
            <a:r>
              <a:rPr lang="en-US" err="1"/>
              <a:t>primisetua</a:t>
            </a:r>
            <a:r>
              <a:rPr lang="en-US"/>
              <a:t>, </a:t>
            </a:r>
            <a:r>
              <a:rPr lang="en-US" err="1"/>
              <a:t>senectus</a:t>
            </a:r>
            <a:r>
              <a:rPr lang="en-US"/>
              <a:t> </a:t>
            </a:r>
            <a:r>
              <a:rPr lang="en-US" err="1"/>
              <a:t>habitasse</a:t>
            </a:r>
            <a:r>
              <a:rPr lang="en-US"/>
              <a:t> </a:t>
            </a:r>
            <a:r>
              <a:rPr lang="en-US" err="1"/>
              <a:t>lectusetu</a:t>
            </a:r>
            <a:r>
              <a:rPr lang="en-US"/>
              <a:t> </a:t>
            </a:r>
            <a:r>
              <a:rPr lang="en-US" err="1"/>
              <a:t>doler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,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 </a:t>
            </a:r>
            <a:r>
              <a:rPr lang="en-US" err="1"/>
              <a:t>pellentesque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mi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Massa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fringilla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=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class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dictumst</a:t>
            </a:r>
            <a:r>
              <a:rPr lang="en-US"/>
              <a:t>, </a:t>
            </a:r>
            <a:r>
              <a:rPr lang="en-US" err="1"/>
              <a:t>aenean</a:t>
            </a:r>
            <a:r>
              <a:rPr lang="en-US"/>
              <a:t> non a in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.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2BE551D-14EE-544A-8F49-DE7C4E74B1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10635" y="2675965"/>
            <a:ext cx="3092823" cy="3321610"/>
          </a:xfrm>
        </p:spPr>
        <p:txBody>
          <a:bodyPr/>
          <a:lstStyle>
            <a:lvl1pPr>
              <a:defRPr sz="1000">
                <a:latin typeface="+mn-lt"/>
              </a:defRPr>
            </a:lvl1pPr>
            <a:lvl2pPr>
              <a:defRPr sz="1000">
                <a:latin typeface="+mn-lt"/>
              </a:defRPr>
            </a:lvl2pPr>
            <a:lvl3pPr>
              <a:defRPr sz="1000">
                <a:latin typeface="+mn-lt"/>
              </a:defRPr>
            </a:lvl3pPr>
            <a:lvl4pPr>
              <a:defRPr sz="100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Felis </a:t>
            </a:r>
            <a:r>
              <a:rPr lang="en-US" err="1"/>
              <a:t>blandit</a:t>
            </a:r>
            <a:r>
              <a:rPr lang="en-US"/>
              <a:t> cursus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class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dictumst</a:t>
            </a:r>
            <a:r>
              <a:rPr lang="en-US"/>
              <a:t>, </a:t>
            </a:r>
            <a:r>
              <a:rPr lang="en-US" err="1"/>
              <a:t>aenean</a:t>
            </a:r>
            <a:r>
              <a:rPr lang="en-US"/>
              <a:t> non a in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nulla.Etu</a:t>
            </a:r>
            <a:r>
              <a:rPr lang="en-US"/>
              <a:t> </a:t>
            </a:r>
            <a:r>
              <a:rPr lang="en-US" err="1"/>
              <a:t>phasellus</a:t>
            </a:r>
            <a:r>
              <a:rPr lang="en-US"/>
              <a:t> ante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cum </a:t>
            </a:r>
            <a:r>
              <a:rPr lang="en-US" err="1"/>
              <a:t>risus</a:t>
            </a:r>
            <a:r>
              <a:rPr lang="en-US"/>
              <a:t> dolor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aliquam</a:t>
            </a:r>
            <a:r>
              <a:rPr lang="en-US"/>
              <a:t>, integer </a:t>
            </a:r>
            <a:r>
              <a:rPr lang="en-US" err="1"/>
              <a:t>placerat</a:t>
            </a:r>
            <a:r>
              <a:rPr lang="en-US"/>
              <a:t> et </a:t>
            </a:r>
            <a:r>
              <a:rPr lang="en-US" err="1"/>
              <a:t>turpis</a:t>
            </a:r>
            <a:r>
              <a:rPr lang="en-US"/>
              <a:t> mi eros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taciti</a:t>
            </a:r>
            <a:r>
              <a:rPr lang="en-US"/>
              <a:t>, </a:t>
            </a:r>
            <a:r>
              <a:rPr lang="en-US" err="1"/>
              <a:t>vehicula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litora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ligula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</a:t>
            </a:r>
          </a:p>
          <a:p>
            <a:pPr lvl="0"/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lorem </a:t>
            </a:r>
            <a:r>
              <a:rPr lang="en-US" err="1"/>
              <a:t>primisetua</a:t>
            </a:r>
            <a:r>
              <a:rPr lang="en-US"/>
              <a:t>, </a:t>
            </a:r>
            <a:r>
              <a:rPr lang="en-US" err="1"/>
              <a:t>senectus</a:t>
            </a:r>
            <a:r>
              <a:rPr lang="en-US"/>
              <a:t> </a:t>
            </a:r>
            <a:r>
              <a:rPr lang="en-US" err="1"/>
              <a:t>habitasse</a:t>
            </a:r>
            <a:r>
              <a:rPr lang="en-US"/>
              <a:t> </a:t>
            </a:r>
            <a:r>
              <a:rPr lang="en-US" err="1"/>
              <a:t>lectusetu</a:t>
            </a:r>
            <a:r>
              <a:rPr lang="en-US"/>
              <a:t> </a:t>
            </a:r>
            <a:r>
              <a:rPr lang="en-US" err="1"/>
              <a:t>doler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,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 </a:t>
            </a:r>
            <a:r>
              <a:rPr lang="en-US" err="1"/>
              <a:t>pellentesque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mi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Massa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fringilla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=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class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dictumst</a:t>
            </a:r>
            <a:r>
              <a:rPr lang="en-US"/>
              <a:t>, </a:t>
            </a:r>
            <a:r>
              <a:rPr lang="en-US" err="1"/>
              <a:t>aenean</a:t>
            </a:r>
            <a:r>
              <a:rPr lang="en-US"/>
              <a:t> non a in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.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8F694449-2177-6F4F-978A-F254F736AA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893423" y="2675965"/>
            <a:ext cx="3092823" cy="3321610"/>
          </a:xfrm>
        </p:spPr>
        <p:txBody>
          <a:bodyPr/>
          <a:lstStyle>
            <a:lvl1pPr>
              <a:defRPr sz="1000">
                <a:latin typeface="+mn-lt"/>
              </a:defRPr>
            </a:lvl1pPr>
            <a:lvl2pPr>
              <a:defRPr sz="1000">
                <a:latin typeface="+mn-lt"/>
              </a:defRPr>
            </a:lvl2pPr>
            <a:lvl3pPr>
              <a:defRPr sz="1000">
                <a:latin typeface="+mn-lt"/>
              </a:defRPr>
            </a:lvl3pPr>
            <a:lvl4pPr>
              <a:defRPr sz="100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/>
              <a:t>Felis </a:t>
            </a:r>
            <a:r>
              <a:rPr lang="en-US" err="1"/>
              <a:t>blandit</a:t>
            </a:r>
            <a:r>
              <a:rPr lang="en-US"/>
              <a:t> cursus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class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dictumst</a:t>
            </a:r>
            <a:r>
              <a:rPr lang="en-US"/>
              <a:t>, </a:t>
            </a:r>
            <a:r>
              <a:rPr lang="en-US" err="1"/>
              <a:t>aenean</a:t>
            </a:r>
            <a:r>
              <a:rPr lang="en-US"/>
              <a:t> non a in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nulla.Etu</a:t>
            </a:r>
            <a:r>
              <a:rPr lang="en-US"/>
              <a:t> </a:t>
            </a:r>
            <a:r>
              <a:rPr lang="en-US" err="1"/>
              <a:t>phasellus</a:t>
            </a:r>
            <a:r>
              <a:rPr lang="en-US"/>
              <a:t> ante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cum </a:t>
            </a:r>
            <a:r>
              <a:rPr lang="en-US" err="1"/>
              <a:t>risus</a:t>
            </a:r>
            <a:r>
              <a:rPr lang="en-US"/>
              <a:t> dolor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aliquam</a:t>
            </a:r>
            <a:r>
              <a:rPr lang="en-US"/>
              <a:t>, integer </a:t>
            </a:r>
            <a:r>
              <a:rPr lang="en-US" err="1"/>
              <a:t>placerat</a:t>
            </a:r>
            <a:r>
              <a:rPr lang="en-US"/>
              <a:t> et </a:t>
            </a:r>
            <a:r>
              <a:rPr lang="en-US" err="1"/>
              <a:t>turpis</a:t>
            </a:r>
            <a:r>
              <a:rPr lang="en-US"/>
              <a:t> mi eros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taciti</a:t>
            </a:r>
            <a:r>
              <a:rPr lang="en-US"/>
              <a:t>, </a:t>
            </a:r>
            <a:r>
              <a:rPr lang="en-US" err="1"/>
              <a:t>vehicula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litora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ligula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</a:t>
            </a:r>
          </a:p>
          <a:p>
            <a:pPr lvl="0"/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lorem </a:t>
            </a:r>
            <a:r>
              <a:rPr lang="en-US" err="1"/>
              <a:t>primisetua</a:t>
            </a:r>
            <a:r>
              <a:rPr lang="en-US"/>
              <a:t>, </a:t>
            </a:r>
            <a:r>
              <a:rPr lang="en-US" err="1"/>
              <a:t>senectus</a:t>
            </a:r>
            <a:r>
              <a:rPr lang="en-US"/>
              <a:t> </a:t>
            </a:r>
            <a:r>
              <a:rPr lang="en-US" err="1"/>
              <a:t>habitasse</a:t>
            </a:r>
            <a:r>
              <a:rPr lang="en-US"/>
              <a:t> </a:t>
            </a:r>
            <a:r>
              <a:rPr lang="en-US" err="1"/>
              <a:t>lectusetu</a:t>
            </a:r>
            <a:r>
              <a:rPr lang="en-US"/>
              <a:t> </a:t>
            </a:r>
            <a:r>
              <a:rPr lang="en-US" err="1"/>
              <a:t>doler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,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 </a:t>
            </a:r>
            <a:r>
              <a:rPr lang="en-US" err="1"/>
              <a:t>pellentesque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mi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Massa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fringilla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=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class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dictumst</a:t>
            </a:r>
            <a:r>
              <a:rPr lang="en-US"/>
              <a:t>, </a:t>
            </a:r>
            <a:r>
              <a:rPr lang="en-US" err="1"/>
              <a:t>aenean</a:t>
            </a:r>
            <a:r>
              <a:rPr lang="en-US"/>
              <a:t> non a in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A02C6BE-9131-7144-A89D-17B9B6BF1F0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6512" y="495992"/>
            <a:ext cx="569228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00" baseline="0">
                <a:solidFill>
                  <a:schemeClr val="tx2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2674560-4F3C-1240-A50E-2F71A3F4C75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86247" y="495992"/>
            <a:ext cx="3488042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50" baseline="0">
                <a:solidFill>
                  <a:schemeClr val="tx2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DELOITTE DIGITAL</a:t>
            </a:r>
          </a:p>
        </p:txBody>
      </p:sp>
    </p:spTree>
    <p:extLst>
      <p:ext uri="{BB962C8B-B14F-4D97-AF65-F5344CB8AC3E}">
        <p14:creationId xmlns:p14="http://schemas.microsoft.com/office/powerpoint/2010/main" val="166746253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: Tier Messaging -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6FFB0421-D2FD-3D4E-B9B1-06F317B8D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4400" y="812800"/>
            <a:ext cx="10325100" cy="7874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/>
              <a:t>Click to edit Master title s edit Master title style ty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8D30F071-F953-AE45-848C-4A88A58ABD6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4400" y="4149912"/>
            <a:ext cx="9296400" cy="11213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/>
            </a:lvl1pPr>
          </a:lstStyle>
          <a:p>
            <a:pPr lvl="0"/>
            <a:endParaRPr lang="en-US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463985F8-E7E2-514E-B644-AA0D3303D0F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400" y="1943256"/>
            <a:ext cx="9296400" cy="96333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lorem </a:t>
            </a:r>
            <a:r>
              <a:rPr lang="en-US" err="1"/>
              <a:t>primisetua</a:t>
            </a:r>
            <a:r>
              <a:rPr lang="en-US"/>
              <a:t>, </a:t>
            </a:r>
            <a:r>
              <a:rPr lang="en-US" err="1"/>
              <a:t>senectus</a:t>
            </a:r>
            <a:r>
              <a:rPr lang="en-US"/>
              <a:t> </a:t>
            </a:r>
            <a:r>
              <a:rPr lang="en-US" err="1"/>
              <a:t>habitasse</a:t>
            </a:r>
            <a:r>
              <a:rPr lang="en-US"/>
              <a:t> </a:t>
            </a:r>
            <a:r>
              <a:rPr lang="en-US" err="1"/>
              <a:t>lectusetu</a:t>
            </a:r>
            <a:r>
              <a:rPr lang="en-US"/>
              <a:t> </a:t>
            </a:r>
            <a:r>
              <a:rPr lang="en-US" err="1"/>
              <a:t>doler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,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 </a:t>
            </a:r>
            <a:r>
              <a:rPr lang="en-US" err="1"/>
              <a:t>pellentesque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mi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Massa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fringilla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=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class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dictumst</a:t>
            </a:r>
            <a:r>
              <a:rPr lang="en-US"/>
              <a:t>, </a:t>
            </a:r>
            <a:r>
              <a:rPr lang="en-US" err="1"/>
              <a:t>aenean</a:t>
            </a:r>
            <a:r>
              <a:rPr lang="en-US"/>
              <a:t> non a in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.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DDFE1B1-9364-4E44-BE5A-008902C9708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6512" y="495992"/>
            <a:ext cx="569228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00" baseline="0">
                <a:solidFill>
                  <a:schemeClr val="tx2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561B028-51AA-784D-A4C9-A82067CB385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86247" y="495992"/>
            <a:ext cx="3488042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50" baseline="0">
                <a:solidFill>
                  <a:schemeClr val="tx2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DELOITTE DIGITAL</a:t>
            </a:r>
          </a:p>
        </p:txBody>
      </p:sp>
    </p:spTree>
    <p:extLst>
      <p:ext uri="{BB962C8B-B14F-4D97-AF65-F5344CB8AC3E}">
        <p14:creationId xmlns:p14="http://schemas.microsoft.com/office/powerpoint/2010/main" val="84566923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B7681060-86B0-47E6-8BC6-B461163ECE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/>
              <a:t>Asıl başlık stilini düzenlemek için tıklayın</a:t>
            </a:r>
            <a:endParaRPr lang="en-US"/>
          </a:p>
        </p:txBody>
      </p:sp>
      <p:sp>
        <p:nvSpPr>
          <p:cNvPr id="3" name="Resim Yer Tutucusu 2">
            <a:extLst>
              <a:ext uri="{FF2B5EF4-FFF2-40B4-BE49-F238E27FC236}">
                <a16:creationId xmlns:a16="http://schemas.microsoft.com/office/drawing/2014/main" id="{4A59C763-DE62-4A4A-8C6C-CD39466200D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Metin Yer Tutucusu 3">
            <a:extLst>
              <a:ext uri="{FF2B5EF4-FFF2-40B4-BE49-F238E27FC236}">
                <a16:creationId xmlns:a16="http://schemas.microsoft.com/office/drawing/2014/main" id="{5A56A326-40AB-43AF-8E4A-8482CB139F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861EAF75-1EFC-4EA3-B65B-24E6705ED7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7D5679-8147-4208-AAA0-2764F0861D10}" type="datetimeFigureOut">
              <a:rPr lang="en-US" smtClean="0"/>
              <a:t>12/11/2021</a:t>
            </a:fld>
            <a:endParaRPr lang="en-US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DA8E6145-E18F-4EA0-BC1D-229A4BE92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3C55BD1E-44FA-4507-8425-3EB18B747B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4941B-0C0C-4015-80F4-71582E9B4E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5576961"/>
      </p:ext>
    </p:extLst>
  </p:cSld>
  <p:clrMapOvr>
    <a:masterClrMapping/>
  </p:clrMapOvr>
  <p:hf hdr="0" dt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: 3 Column with Footer -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B08EE29-A03A-C342-B34E-CB43983D5274}"/>
              </a:ext>
            </a:extLst>
          </p:cNvPr>
          <p:cNvCxnSpPr>
            <a:cxnSpLocks/>
          </p:cNvCxnSpPr>
          <p:nvPr userDrawn="1"/>
        </p:nvCxnSpPr>
        <p:spPr>
          <a:xfrm>
            <a:off x="912813" y="5734285"/>
            <a:ext cx="10326687" cy="0"/>
          </a:xfrm>
          <a:prstGeom prst="line">
            <a:avLst/>
          </a:prstGeom>
          <a:noFill/>
          <a:ln w="3175" cap="flat" cmpd="sng" algn="ctr">
            <a:solidFill>
              <a:sysClr val="windowText" lastClr="000000">
                <a:alpha val="50000"/>
              </a:sysClr>
            </a:solidFill>
            <a:prstDash val="solid"/>
            <a:miter lim="800000"/>
          </a:ln>
          <a:effectLst/>
        </p:spPr>
      </p:cxn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E0AE33A8-E39A-FD46-B895-D32DF4211B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43300" y="5902960"/>
            <a:ext cx="3505200" cy="15478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cap="all" spc="300" baseline="0"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all" spc="25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ACILISIS INTEGER FERMENTUM VEHICULA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3E5CCD4-8DCA-214B-9897-C585BCBD2C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83037" y="5905659"/>
            <a:ext cx="2095500" cy="15208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cap="all" spc="300" baseline="0"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all" spc="25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IVERRA DOLOR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2F26D0B5-E351-E443-8784-69AE61A3E0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01200" y="5905659"/>
            <a:ext cx="2095500" cy="15208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cap="all" spc="300" baseline="0"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all" spc="25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LATEA CURSUS PER 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17B82C3-24AC-F94D-A2B5-A76BFDDA40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5903279"/>
            <a:ext cx="2095500" cy="15208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cap="all" spc="300" baseline="0"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all" spc="25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IGULA JUSTO PORTTITOR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587A59F8-B5A7-7543-BCD3-6D3B964236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4400" y="812800"/>
            <a:ext cx="10325100" cy="7874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/>
              <a:t>Click to edit Master title s edit Master title style tyle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5B8C51D7-FE3E-D842-9B2F-5F0C99510C0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2329329"/>
            <a:ext cx="3009900" cy="23876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/>
            </a:lvl1pPr>
          </a:lstStyle>
          <a:p>
            <a:pPr lvl="0"/>
            <a:r>
              <a:rPr lang="en-US"/>
              <a:t>Ligula </a:t>
            </a:r>
            <a:r>
              <a:rPr lang="en-US" err="1"/>
              <a:t>justo</a:t>
            </a:r>
            <a:r>
              <a:rPr lang="en-US"/>
              <a:t> </a:t>
            </a:r>
            <a:r>
              <a:rPr lang="en-US" err="1"/>
              <a:t>porttitor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class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dictumst</a:t>
            </a:r>
            <a:r>
              <a:rPr lang="en-US"/>
              <a:t>, </a:t>
            </a:r>
            <a:r>
              <a:rPr lang="en-US" err="1"/>
              <a:t>aenean</a:t>
            </a:r>
            <a:r>
              <a:rPr lang="en-US"/>
              <a:t> non a in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. </a:t>
            </a:r>
            <a:r>
              <a:rPr lang="en-US" err="1"/>
              <a:t>Etu</a:t>
            </a:r>
            <a:r>
              <a:rPr lang="en-US"/>
              <a:t> </a:t>
            </a:r>
            <a:r>
              <a:rPr lang="en-US" err="1"/>
              <a:t>phasellus</a:t>
            </a:r>
            <a:r>
              <a:rPr lang="en-US"/>
              <a:t> ante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cum </a:t>
            </a:r>
            <a:r>
              <a:rPr lang="en-US" err="1"/>
              <a:t>risus</a:t>
            </a:r>
            <a:r>
              <a:rPr lang="en-US"/>
              <a:t> dolor</a:t>
            </a:r>
          </a:p>
          <a:p>
            <a:pPr lvl="0"/>
            <a:endParaRPr lang="en-US"/>
          </a:p>
          <a:p>
            <a:pPr lvl="0"/>
            <a:r>
              <a:rPr lang="en-US" err="1"/>
              <a:t>Etu</a:t>
            </a:r>
            <a:r>
              <a:rPr lang="en-US"/>
              <a:t> </a:t>
            </a:r>
            <a:r>
              <a:rPr lang="en-US" err="1"/>
              <a:t>phasellus</a:t>
            </a:r>
            <a:r>
              <a:rPr lang="en-US"/>
              <a:t> ante</a:t>
            </a:r>
          </a:p>
          <a:p>
            <a:pPr lvl="0"/>
            <a:r>
              <a:rPr lang="en-US" err="1"/>
              <a:t>Viverra</a:t>
            </a:r>
            <a:r>
              <a:rPr lang="en-US"/>
              <a:t> dolor eros semper </a:t>
            </a:r>
            <a:r>
              <a:rPr lang="en-US" err="1"/>
              <a:t>sociosqu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,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platea</a:t>
            </a:r>
            <a:r>
              <a:rPr lang="en-US"/>
              <a:t> cursus per </a:t>
            </a:r>
            <a:r>
              <a:rPr lang="en-US" err="1"/>
              <a:t>suscipi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id  </a:t>
            </a:r>
            <a:r>
              <a:rPr lang="en-US" err="1"/>
              <a:t>risus</a:t>
            </a:r>
            <a:r>
              <a:rPr lang="en-US"/>
              <a:t> auctor </a:t>
            </a:r>
            <a:r>
              <a:rPr lang="en-US" err="1"/>
              <a:t>incepto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.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.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39EC3C5A-1CBC-4942-8736-3D6B4698E0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13478" y="2329329"/>
            <a:ext cx="2969559" cy="23876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/>
            </a:lvl1pPr>
          </a:lstStyle>
          <a:p>
            <a:pPr lvl="0"/>
            <a:r>
              <a:rPr lang="en-US" err="1"/>
              <a:t>Conubia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primis</a:t>
            </a:r>
            <a:endParaRPr lang="en-US"/>
          </a:p>
          <a:p>
            <a:pPr lvl="0"/>
            <a:r>
              <a:rPr lang="en-US"/>
              <a:t>Libero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fames </a:t>
            </a:r>
            <a:r>
              <a:rPr lang="en-US" err="1"/>
              <a:t>penatib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 diam </a:t>
            </a:r>
            <a:r>
              <a:rPr lang="en-US" err="1"/>
              <a:t>platea</a:t>
            </a:r>
            <a:r>
              <a:rPr lang="en-US"/>
              <a:t>, </a:t>
            </a:r>
            <a:r>
              <a:rPr lang="en-US" err="1"/>
              <a:t>himenaeos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eros </a:t>
            </a:r>
            <a:r>
              <a:rPr lang="en-US" err="1"/>
              <a:t>congue</a:t>
            </a:r>
            <a:r>
              <a:rPr lang="en-US"/>
              <a:t> vestibulum ipsum.</a:t>
            </a:r>
          </a:p>
          <a:p>
            <a:pPr lvl="0"/>
            <a:endParaRPr lang="en-US"/>
          </a:p>
          <a:p>
            <a:pPr lvl="0"/>
            <a:r>
              <a:rPr lang="en-US"/>
              <a:t>Aenean </a:t>
            </a:r>
            <a:r>
              <a:rPr lang="en-US" err="1"/>
              <a:t>suspendisse</a:t>
            </a:r>
            <a:r>
              <a:rPr lang="en-US"/>
              <a:t> fames </a:t>
            </a:r>
          </a:p>
          <a:p>
            <a:pPr lvl="0"/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 sed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, fermentum </a:t>
            </a:r>
            <a:r>
              <a:rPr lang="en-US" err="1"/>
              <a:t>curab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uctor </a:t>
            </a:r>
            <a:r>
              <a:rPr lang="en-US" err="1"/>
              <a:t>massa</a:t>
            </a:r>
            <a:r>
              <a:rPr lang="en-US"/>
              <a:t> integer fames </a:t>
            </a:r>
            <a:r>
              <a:rPr lang="en-US" err="1"/>
              <a:t>purus</a:t>
            </a:r>
            <a:r>
              <a:rPr lang="en-US"/>
              <a:t> in.</a:t>
            </a:r>
          </a:p>
          <a:p>
            <a:pPr lvl="0"/>
            <a:endParaRPr lang="en-US"/>
          </a:p>
          <a:p>
            <a:pPr lvl="0"/>
            <a:r>
              <a:rPr lang="en-US" err="1"/>
              <a:t>Quisque</a:t>
            </a:r>
            <a:r>
              <a:rPr lang="en-US"/>
              <a:t> </a:t>
            </a:r>
            <a:r>
              <a:rPr lang="en-US" err="1"/>
              <a:t>laoreet</a:t>
            </a:r>
            <a:endParaRPr lang="en-US"/>
          </a:p>
          <a:p>
            <a:pPr lvl="0"/>
            <a:r>
              <a:rPr lang="en-US" err="1"/>
              <a:t>Viverra</a:t>
            </a:r>
            <a:r>
              <a:rPr lang="en-US"/>
              <a:t> dolor eros semper </a:t>
            </a:r>
            <a:r>
              <a:rPr lang="en-US" err="1"/>
              <a:t>sociosqu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,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platea</a:t>
            </a:r>
            <a:r>
              <a:rPr lang="en-US"/>
              <a:t> cursus.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5FB42339-0512-FF4A-A3AB-61E340CC01D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9941" y="2329329"/>
            <a:ext cx="2969559" cy="23876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/>
            </a:lvl1pPr>
          </a:lstStyle>
          <a:p>
            <a:pPr lvl="0"/>
            <a:r>
              <a:rPr lang="en-US"/>
              <a:t>Ligula </a:t>
            </a:r>
            <a:r>
              <a:rPr lang="en-US" err="1"/>
              <a:t>justo</a:t>
            </a:r>
            <a:r>
              <a:rPr lang="en-US"/>
              <a:t> </a:t>
            </a:r>
            <a:r>
              <a:rPr lang="en-US" err="1"/>
              <a:t>porttitor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class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dictumst</a:t>
            </a:r>
            <a:r>
              <a:rPr lang="en-US"/>
              <a:t>, </a:t>
            </a:r>
            <a:r>
              <a:rPr lang="en-US" err="1"/>
              <a:t>aenean</a:t>
            </a:r>
            <a:r>
              <a:rPr lang="en-US"/>
              <a:t> non a in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. </a:t>
            </a:r>
            <a:r>
              <a:rPr lang="en-US" err="1"/>
              <a:t>Etu</a:t>
            </a:r>
            <a:r>
              <a:rPr lang="en-US"/>
              <a:t> </a:t>
            </a:r>
            <a:r>
              <a:rPr lang="en-US" err="1"/>
              <a:t>phasellus</a:t>
            </a:r>
            <a:r>
              <a:rPr lang="en-US"/>
              <a:t> ante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cum </a:t>
            </a:r>
            <a:r>
              <a:rPr lang="en-US" err="1"/>
              <a:t>risus</a:t>
            </a:r>
            <a:r>
              <a:rPr lang="en-US"/>
              <a:t> dolor</a:t>
            </a:r>
          </a:p>
          <a:p>
            <a:pPr lvl="0"/>
            <a:endParaRPr lang="en-US"/>
          </a:p>
          <a:p>
            <a:pPr lvl="0"/>
            <a:r>
              <a:rPr lang="en-US" err="1"/>
              <a:t>Etu</a:t>
            </a:r>
            <a:r>
              <a:rPr lang="en-US"/>
              <a:t> </a:t>
            </a:r>
            <a:r>
              <a:rPr lang="en-US" err="1"/>
              <a:t>phasellus</a:t>
            </a:r>
            <a:r>
              <a:rPr lang="en-US"/>
              <a:t> ante</a:t>
            </a:r>
          </a:p>
          <a:p>
            <a:pPr lvl="0"/>
            <a:r>
              <a:rPr lang="en-US" err="1"/>
              <a:t>Viverra</a:t>
            </a:r>
            <a:r>
              <a:rPr lang="en-US"/>
              <a:t> dolor eros semper </a:t>
            </a:r>
            <a:r>
              <a:rPr lang="en-US" err="1"/>
              <a:t>sociosqu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,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platea</a:t>
            </a:r>
            <a:r>
              <a:rPr lang="en-US"/>
              <a:t> cursus per </a:t>
            </a:r>
            <a:r>
              <a:rPr lang="en-US" err="1"/>
              <a:t>suscipi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id  </a:t>
            </a:r>
            <a:r>
              <a:rPr lang="en-US" err="1"/>
              <a:t>risus</a:t>
            </a:r>
            <a:r>
              <a:rPr lang="en-US"/>
              <a:t> auctor </a:t>
            </a:r>
            <a:r>
              <a:rPr lang="en-US" err="1"/>
              <a:t>incepto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.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.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D06929EA-D49D-4F46-A84D-6D323E890B9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6512" y="495992"/>
            <a:ext cx="569228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00" baseline="0">
                <a:solidFill>
                  <a:schemeClr val="tx2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9D9BD63-561E-7641-BD15-6DD81F5FA29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86247" y="495992"/>
            <a:ext cx="3488042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50" baseline="0">
                <a:solidFill>
                  <a:schemeClr val="tx2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DELOITTE DIGITAL</a:t>
            </a:r>
          </a:p>
        </p:txBody>
      </p:sp>
    </p:spTree>
    <p:extLst>
      <p:ext uri="{BB962C8B-B14F-4D97-AF65-F5344CB8AC3E}">
        <p14:creationId xmlns:p14="http://schemas.microsoft.com/office/powerpoint/2010/main" val="20668970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: Sidebar -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47AA8BC-97B4-9546-8437-2BA0125816D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4400" y="3429000"/>
            <a:ext cx="3009900" cy="1714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lvl1pPr>
          </a:lstStyle>
          <a:p>
            <a:pPr lvl="0"/>
            <a:r>
              <a:rPr lang="en-US"/>
              <a:t>7 lines running intro text. Morbi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, porta ac </a:t>
            </a:r>
            <a:r>
              <a:rPr lang="en-US" err="1"/>
              <a:t>consectetur</a:t>
            </a:r>
            <a:r>
              <a:rPr lang="en-US"/>
              <a:t> ac, vestibulum at eros. Donec sed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 Sed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t </a:t>
            </a:r>
            <a:r>
              <a:rPr lang="en-US" err="1"/>
              <a:t>lobortis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4C0E923-38EC-6B4C-9487-769D320A2EF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1235635"/>
            <a:ext cx="3009900" cy="2051538"/>
          </a:xfr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Light"/>
                <a:ea typeface="+mj-ea"/>
                <a:cs typeface="Calibri Light" panose="020F0302020204030204" pitchFamily="34" charset="0"/>
              </a:rPr>
              <a:t>Click to edit Master title style</a:t>
            </a:r>
            <a:endParaRPr kumimoji="0" lang="en-A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44D961B-FF77-8842-836F-5190846F965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6512" y="495992"/>
            <a:ext cx="569228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00" baseline="0">
                <a:solidFill>
                  <a:schemeClr val="tx2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830D1E9-0741-C748-973A-FB8FEA0FD0B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86247" y="495992"/>
            <a:ext cx="3488042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50" baseline="0">
                <a:solidFill>
                  <a:schemeClr val="tx2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DELOITTE DIGITAL</a:t>
            </a:r>
          </a:p>
        </p:txBody>
      </p:sp>
    </p:spTree>
    <p:extLst>
      <p:ext uri="{BB962C8B-B14F-4D97-AF65-F5344CB8AC3E}">
        <p14:creationId xmlns:p14="http://schemas.microsoft.com/office/powerpoint/2010/main" val="1473173750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: Sidebar - 3 Column -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9F71E33-BA0E-A541-A2DC-FD42A43A6F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4400" y="3429000"/>
            <a:ext cx="3009900" cy="1714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lvl1pPr>
          </a:lstStyle>
          <a:p>
            <a:pPr lvl="0"/>
            <a:r>
              <a:rPr lang="en-US"/>
              <a:t>7 lines running intro text. Morbi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, porta ac </a:t>
            </a:r>
            <a:r>
              <a:rPr lang="en-US" err="1"/>
              <a:t>consectetur</a:t>
            </a:r>
            <a:r>
              <a:rPr lang="en-US"/>
              <a:t> ac, vestibulum at eros. Donec sed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 Sed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t </a:t>
            </a:r>
            <a:r>
              <a:rPr lang="en-US" err="1"/>
              <a:t>lobortis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4BB17C82-293E-A545-98BE-F49322DB041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58603" y="3656853"/>
            <a:ext cx="6286500" cy="23876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/>
            </a:lvl1pPr>
          </a:lstStyle>
          <a:p>
            <a:pPr lvl="0"/>
            <a:r>
              <a:rPr lang="en-US" err="1"/>
              <a:t>Conubia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primis</a:t>
            </a:r>
            <a:endParaRPr lang="en-US"/>
          </a:p>
          <a:p>
            <a:pPr lvl="0"/>
            <a:r>
              <a:rPr lang="en-US"/>
              <a:t>Libero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fames </a:t>
            </a:r>
            <a:r>
              <a:rPr lang="en-US" err="1"/>
              <a:t>penatib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 diam </a:t>
            </a:r>
            <a:r>
              <a:rPr lang="en-US" err="1"/>
              <a:t>platea</a:t>
            </a:r>
            <a:r>
              <a:rPr lang="en-US"/>
              <a:t>, </a:t>
            </a:r>
            <a:r>
              <a:rPr lang="en-US" err="1"/>
              <a:t>himenaeos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eros </a:t>
            </a:r>
            <a:r>
              <a:rPr lang="en-US" err="1"/>
              <a:t>congue</a:t>
            </a:r>
            <a:r>
              <a:rPr lang="en-US"/>
              <a:t> vestibulum ipsum </a:t>
            </a:r>
            <a:r>
              <a:rPr lang="en-US" err="1"/>
              <a:t>adipiscin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 g ligula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nequ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sociisetur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r>
              <a:rPr lang="en-US" err="1"/>
              <a:t>Quisque</a:t>
            </a:r>
            <a:r>
              <a:rPr lang="en-US"/>
              <a:t> </a:t>
            </a:r>
            <a:r>
              <a:rPr lang="en-US" err="1"/>
              <a:t>laoreet</a:t>
            </a:r>
            <a:endParaRPr lang="en-US"/>
          </a:p>
          <a:p>
            <a:pPr lvl="0"/>
            <a:r>
              <a:rPr lang="en-US" err="1"/>
              <a:t>Viverra</a:t>
            </a:r>
            <a:r>
              <a:rPr lang="en-US"/>
              <a:t> dolor eros semper </a:t>
            </a:r>
            <a:r>
              <a:rPr lang="en-US" err="1"/>
              <a:t>sociosqu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,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platea</a:t>
            </a:r>
            <a:r>
              <a:rPr lang="en-US"/>
              <a:t> cursus per </a:t>
            </a:r>
            <a:r>
              <a:rPr lang="en-US" err="1"/>
              <a:t>sid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auctor </a:t>
            </a:r>
            <a:r>
              <a:rPr lang="en-US" err="1"/>
              <a:t>incepto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r>
              <a:rPr lang="en-US" err="1"/>
              <a:t>Conubia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primis</a:t>
            </a:r>
            <a:endParaRPr lang="en-US"/>
          </a:p>
          <a:p>
            <a:pPr lvl="0"/>
            <a:r>
              <a:rPr lang="en-US"/>
              <a:t>Libero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fames </a:t>
            </a:r>
            <a:r>
              <a:rPr lang="en-US" err="1"/>
              <a:t>penatib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h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endrerit</a:t>
            </a:r>
            <a:r>
              <a:rPr lang="en-US"/>
              <a:t> diam </a:t>
            </a:r>
            <a:r>
              <a:rPr lang="en-US" err="1"/>
              <a:t>platea</a:t>
            </a:r>
            <a:r>
              <a:rPr lang="en-US"/>
              <a:t>, </a:t>
            </a:r>
            <a:r>
              <a:rPr lang="en-US" err="1"/>
              <a:t>himenaeos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eros </a:t>
            </a:r>
            <a:r>
              <a:rPr lang="en-US" err="1"/>
              <a:t>congue</a:t>
            </a:r>
            <a:r>
              <a:rPr lang="en-US"/>
              <a:t> vestibulum ipsum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nequ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sociisetur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DE6D4580-4856-8642-9E92-D7DB0B4D7A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53000" y="578224"/>
            <a:ext cx="2913529" cy="23876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/>
            </a:lvl1pPr>
          </a:lstStyle>
          <a:p>
            <a:pPr lvl="0"/>
            <a:r>
              <a:rPr lang="en-US"/>
              <a:t>Ligula </a:t>
            </a:r>
            <a:r>
              <a:rPr lang="en-US" err="1"/>
              <a:t>justo</a:t>
            </a:r>
            <a:r>
              <a:rPr lang="en-US"/>
              <a:t> </a:t>
            </a:r>
            <a:r>
              <a:rPr lang="en-US" err="1"/>
              <a:t>porttitor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class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dictumst</a:t>
            </a:r>
            <a:r>
              <a:rPr lang="en-US"/>
              <a:t>, </a:t>
            </a:r>
            <a:r>
              <a:rPr lang="en-US" err="1"/>
              <a:t>aenean</a:t>
            </a:r>
            <a:r>
              <a:rPr lang="en-US"/>
              <a:t> non a in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. </a:t>
            </a:r>
            <a:r>
              <a:rPr lang="en-US" err="1"/>
              <a:t>Etu</a:t>
            </a:r>
            <a:r>
              <a:rPr lang="en-US"/>
              <a:t> </a:t>
            </a:r>
            <a:r>
              <a:rPr lang="en-US" err="1"/>
              <a:t>phasellus</a:t>
            </a:r>
            <a:r>
              <a:rPr lang="en-US"/>
              <a:t> ante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cum </a:t>
            </a:r>
            <a:r>
              <a:rPr lang="en-US" err="1"/>
              <a:t>risus</a:t>
            </a:r>
            <a:r>
              <a:rPr lang="en-US"/>
              <a:t> dolor</a:t>
            </a:r>
          </a:p>
          <a:p>
            <a:pPr lvl="0"/>
            <a:endParaRPr lang="en-US"/>
          </a:p>
          <a:p>
            <a:pPr lvl="0"/>
            <a:r>
              <a:rPr lang="en-US" err="1"/>
              <a:t>Etu</a:t>
            </a:r>
            <a:r>
              <a:rPr lang="en-US"/>
              <a:t> </a:t>
            </a:r>
            <a:r>
              <a:rPr lang="en-US" err="1"/>
              <a:t>phasellus</a:t>
            </a:r>
            <a:r>
              <a:rPr lang="en-US"/>
              <a:t> ante</a:t>
            </a:r>
          </a:p>
          <a:p>
            <a:pPr lvl="0"/>
            <a:r>
              <a:rPr lang="en-US" err="1"/>
              <a:t>Viverra</a:t>
            </a:r>
            <a:r>
              <a:rPr lang="en-US"/>
              <a:t> dolor eros semper </a:t>
            </a:r>
            <a:r>
              <a:rPr lang="en-US" err="1"/>
              <a:t>sociosqu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,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platea</a:t>
            </a:r>
            <a:r>
              <a:rPr lang="en-US"/>
              <a:t> cursus per </a:t>
            </a:r>
            <a:r>
              <a:rPr lang="en-US" err="1"/>
              <a:t>suscipi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id  </a:t>
            </a:r>
            <a:r>
              <a:rPr lang="en-US" err="1"/>
              <a:t>risus</a:t>
            </a:r>
            <a:r>
              <a:rPr lang="en-US"/>
              <a:t> auctor </a:t>
            </a:r>
            <a:r>
              <a:rPr lang="en-US" err="1"/>
              <a:t>incepto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.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.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0A80BEB9-2610-0A4D-80B5-1FD622F0999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78906" y="578224"/>
            <a:ext cx="2913529" cy="23876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/>
            </a:lvl1pPr>
          </a:lstStyle>
          <a:p>
            <a:pPr lvl="0"/>
            <a:r>
              <a:rPr lang="en-US"/>
              <a:t>Ligula </a:t>
            </a:r>
            <a:r>
              <a:rPr lang="en-US" err="1"/>
              <a:t>justo</a:t>
            </a:r>
            <a:r>
              <a:rPr lang="en-US"/>
              <a:t> </a:t>
            </a:r>
            <a:r>
              <a:rPr lang="en-US" err="1"/>
              <a:t>porttitor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class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dictumst</a:t>
            </a:r>
            <a:r>
              <a:rPr lang="en-US"/>
              <a:t>, </a:t>
            </a:r>
            <a:r>
              <a:rPr lang="en-US" err="1"/>
              <a:t>aenean</a:t>
            </a:r>
            <a:r>
              <a:rPr lang="en-US"/>
              <a:t> non a in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. </a:t>
            </a:r>
            <a:r>
              <a:rPr lang="en-US" err="1"/>
              <a:t>Etu</a:t>
            </a:r>
            <a:r>
              <a:rPr lang="en-US"/>
              <a:t> </a:t>
            </a:r>
            <a:r>
              <a:rPr lang="en-US" err="1"/>
              <a:t>phasellus</a:t>
            </a:r>
            <a:r>
              <a:rPr lang="en-US"/>
              <a:t> ante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cum </a:t>
            </a:r>
            <a:r>
              <a:rPr lang="en-US" err="1"/>
              <a:t>risus</a:t>
            </a:r>
            <a:r>
              <a:rPr lang="en-US"/>
              <a:t> dolor</a:t>
            </a:r>
          </a:p>
          <a:p>
            <a:pPr lvl="0"/>
            <a:endParaRPr lang="en-US"/>
          </a:p>
          <a:p>
            <a:pPr lvl="0"/>
            <a:r>
              <a:rPr lang="en-US" err="1"/>
              <a:t>Etu</a:t>
            </a:r>
            <a:r>
              <a:rPr lang="en-US"/>
              <a:t> </a:t>
            </a:r>
            <a:r>
              <a:rPr lang="en-US" err="1"/>
              <a:t>phasellus</a:t>
            </a:r>
            <a:r>
              <a:rPr lang="en-US"/>
              <a:t> ante</a:t>
            </a:r>
          </a:p>
          <a:p>
            <a:pPr lvl="0"/>
            <a:r>
              <a:rPr lang="en-US" err="1"/>
              <a:t>Viverra</a:t>
            </a:r>
            <a:r>
              <a:rPr lang="en-US"/>
              <a:t> dolor eros semper </a:t>
            </a:r>
            <a:r>
              <a:rPr lang="en-US" err="1"/>
              <a:t>sociosqu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,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platea</a:t>
            </a:r>
            <a:r>
              <a:rPr lang="en-US"/>
              <a:t> cursus per </a:t>
            </a:r>
            <a:r>
              <a:rPr lang="en-US" err="1"/>
              <a:t>suscipi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id  </a:t>
            </a:r>
            <a:r>
              <a:rPr lang="en-US" err="1"/>
              <a:t>risus</a:t>
            </a:r>
            <a:r>
              <a:rPr lang="en-US"/>
              <a:t> auctor </a:t>
            </a:r>
            <a:r>
              <a:rPr lang="en-US" err="1"/>
              <a:t>incepto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.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.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3A56DE9-FB1F-EC49-B6BF-68FE231E284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4400" y="1235635"/>
            <a:ext cx="3009900" cy="2051538"/>
          </a:xfr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Light"/>
                <a:ea typeface="+mj-ea"/>
                <a:cs typeface="Calibri Light" panose="020F0302020204030204" pitchFamily="34" charset="0"/>
              </a:rPr>
              <a:t>Click to edit Master title style</a:t>
            </a:r>
            <a:endParaRPr kumimoji="0" lang="en-A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C686CC1E-80E1-924E-BDE1-FD005E579C2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6512" y="495992"/>
            <a:ext cx="569228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00" baseline="0">
                <a:solidFill>
                  <a:schemeClr val="tx2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2F00CF8-2616-134C-AE9B-6739532E7B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86247" y="495992"/>
            <a:ext cx="2638916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50" baseline="0">
                <a:solidFill>
                  <a:schemeClr val="tx2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DELOITTE DIGITAL</a:t>
            </a:r>
          </a:p>
        </p:txBody>
      </p:sp>
    </p:spTree>
    <p:extLst>
      <p:ext uri="{BB962C8B-B14F-4D97-AF65-F5344CB8AC3E}">
        <p14:creationId xmlns:p14="http://schemas.microsoft.com/office/powerpoint/2010/main" val="2826709341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: Sidebar - 3 Column Highlight - 1 -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brass&#10;&#10;Description automatically generated">
            <a:extLst>
              <a:ext uri="{FF2B5EF4-FFF2-40B4-BE49-F238E27FC236}">
                <a16:creationId xmlns:a16="http://schemas.microsoft.com/office/drawing/2014/main" id="{F1D460F9-EB1A-804D-B6A6-90FD865587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46626" y="316241"/>
            <a:ext cx="7545374" cy="258398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B3D235C-95B5-5B47-875E-76A6BBB2A607}"/>
              </a:ext>
            </a:extLst>
          </p:cNvPr>
          <p:cNvSpPr/>
          <p:nvPr userDrawn="1"/>
        </p:nvSpPr>
        <p:spPr bwMode="gray">
          <a:xfrm>
            <a:off x="4507832" y="571500"/>
            <a:ext cx="7684168" cy="57150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0FD3A15-BD8B-E34B-BC34-50978AF2D59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4400" y="3429000"/>
            <a:ext cx="3009900" cy="1714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lvl1pPr>
          </a:lstStyle>
          <a:p>
            <a:pPr lvl="0"/>
            <a:r>
              <a:rPr lang="en-US"/>
              <a:t>7 lines running intro text. Morbi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, porta ac </a:t>
            </a:r>
            <a:r>
              <a:rPr lang="en-US" err="1"/>
              <a:t>consectetur</a:t>
            </a:r>
            <a:r>
              <a:rPr lang="en-US"/>
              <a:t> ac, vestibulum at eros. Donec sed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 Sed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t </a:t>
            </a:r>
            <a:r>
              <a:rPr lang="en-US" err="1"/>
              <a:t>lobortis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8C0AE4FA-D2A5-C24F-B394-2F06B8655D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05400" y="1066800"/>
            <a:ext cx="2913529" cy="23876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igula </a:t>
            </a:r>
            <a:r>
              <a:rPr lang="en-US" err="1"/>
              <a:t>justo</a:t>
            </a:r>
            <a:r>
              <a:rPr lang="en-US"/>
              <a:t> </a:t>
            </a:r>
            <a:r>
              <a:rPr lang="en-US" err="1"/>
              <a:t>porttitor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class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dictumst</a:t>
            </a:r>
            <a:r>
              <a:rPr lang="en-US"/>
              <a:t>, </a:t>
            </a:r>
            <a:r>
              <a:rPr lang="en-US" err="1"/>
              <a:t>aenean</a:t>
            </a:r>
            <a:r>
              <a:rPr lang="en-US"/>
              <a:t> non a in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. </a:t>
            </a:r>
            <a:r>
              <a:rPr lang="en-US" err="1"/>
              <a:t>Etu</a:t>
            </a:r>
            <a:r>
              <a:rPr lang="en-US"/>
              <a:t> </a:t>
            </a:r>
            <a:r>
              <a:rPr lang="en-US" err="1"/>
              <a:t>phasellus</a:t>
            </a:r>
            <a:r>
              <a:rPr lang="en-US"/>
              <a:t> ante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cum </a:t>
            </a:r>
            <a:r>
              <a:rPr lang="en-US" err="1"/>
              <a:t>risus</a:t>
            </a:r>
            <a:r>
              <a:rPr lang="en-US"/>
              <a:t> dolor</a:t>
            </a:r>
          </a:p>
          <a:p>
            <a:pPr lvl="0"/>
            <a:endParaRPr lang="en-US"/>
          </a:p>
          <a:p>
            <a:pPr lvl="0"/>
            <a:r>
              <a:rPr lang="en-US" err="1"/>
              <a:t>Etu</a:t>
            </a:r>
            <a:r>
              <a:rPr lang="en-US"/>
              <a:t> </a:t>
            </a:r>
            <a:r>
              <a:rPr lang="en-US" err="1"/>
              <a:t>phasellus</a:t>
            </a:r>
            <a:r>
              <a:rPr lang="en-US"/>
              <a:t> ante</a:t>
            </a:r>
          </a:p>
          <a:p>
            <a:pPr lvl="0"/>
            <a:r>
              <a:rPr lang="en-US" err="1"/>
              <a:t>Viverra</a:t>
            </a:r>
            <a:r>
              <a:rPr lang="en-US"/>
              <a:t> dolor eros semper </a:t>
            </a:r>
            <a:r>
              <a:rPr lang="en-US" err="1"/>
              <a:t>sociosqu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,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platea</a:t>
            </a:r>
            <a:r>
              <a:rPr lang="en-US"/>
              <a:t> cursus per </a:t>
            </a:r>
            <a:r>
              <a:rPr lang="en-US" err="1"/>
              <a:t>suscipi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id  </a:t>
            </a:r>
            <a:r>
              <a:rPr lang="en-US" err="1"/>
              <a:t>risus</a:t>
            </a:r>
            <a:r>
              <a:rPr lang="en-US"/>
              <a:t> auctor </a:t>
            </a:r>
            <a:r>
              <a:rPr lang="en-US" err="1"/>
              <a:t>incepto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.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145DA036-2645-6A4B-AAB9-D5649DF2BE6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25971" y="1066800"/>
            <a:ext cx="2913529" cy="23876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igula </a:t>
            </a:r>
            <a:r>
              <a:rPr lang="en-US" err="1"/>
              <a:t>justo</a:t>
            </a:r>
            <a:r>
              <a:rPr lang="en-US"/>
              <a:t> </a:t>
            </a:r>
            <a:r>
              <a:rPr lang="en-US" err="1"/>
              <a:t>porttitor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class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dictumst</a:t>
            </a:r>
            <a:r>
              <a:rPr lang="en-US"/>
              <a:t>, </a:t>
            </a:r>
            <a:r>
              <a:rPr lang="en-US" err="1"/>
              <a:t>aenean</a:t>
            </a:r>
            <a:r>
              <a:rPr lang="en-US"/>
              <a:t> non a in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. </a:t>
            </a:r>
            <a:r>
              <a:rPr lang="en-US" err="1"/>
              <a:t>Etu</a:t>
            </a:r>
            <a:r>
              <a:rPr lang="en-US"/>
              <a:t> </a:t>
            </a:r>
            <a:r>
              <a:rPr lang="en-US" err="1"/>
              <a:t>phasellus</a:t>
            </a:r>
            <a:r>
              <a:rPr lang="en-US"/>
              <a:t> ante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cum </a:t>
            </a:r>
            <a:r>
              <a:rPr lang="en-US" err="1"/>
              <a:t>risus</a:t>
            </a:r>
            <a:r>
              <a:rPr lang="en-US"/>
              <a:t> dolor</a:t>
            </a:r>
          </a:p>
          <a:p>
            <a:pPr lvl="0"/>
            <a:endParaRPr lang="en-US"/>
          </a:p>
          <a:p>
            <a:pPr lvl="0"/>
            <a:r>
              <a:rPr lang="en-US" err="1"/>
              <a:t>Etu</a:t>
            </a:r>
            <a:r>
              <a:rPr lang="en-US"/>
              <a:t> </a:t>
            </a:r>
            <a:r>
              <a:rPr lang="en-US" err="1"/>
              <a:t>phasellus</a:t>
            </a:r>
            <a:r>
              <a:rPr lang="en-US"/>
              <a:t> ante</a:t>
            </a:r>
          </a:p>
          <a:p>
            <a:pPr lvl="0"/>
            <a:r>
              <a:rPr lang="en-US" err="1"/>
              <a:t>Viverra</a:t>
            </a:r>
            <a:r>
              <a:rPr lang="en-US"/>
              <a:t> dolor eros semper </a:t>
            </a:r>
            <a:r>
              <a:rPr lang="en-US" err="1"/>
              <a:t>sociosqu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,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platea</a:t>
            </a:r>
            <a:r>
              <a:rPr lang="en-US"/>
              <a:t> cursus per </a:t>
            </a:r>
            <a:r>
              <a:rPr lang="en-US" err="1"/>
              <a:t>suscipi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id  </a:t>
            </a:r>
            <a:r>
              <a:rPr lang="en-US" err="1"/>
              <a:t>risus</a:t>
            </a:r>
            <a:r>
              <a:rPr lang="en-US"/>
              <a:t> auctor </a:t>
            </a:r>
            <a:r>
              <a:rPr lang="en-US" err="1"/>
              <a:t>incepto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.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.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F2697B8C-43B6-9A45-932F-FFADB537D4C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05400" y="3641912"/>
            <a:ext cx="6134100" cy="23876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Conubia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primis</a:t>
            </a:r>
            <a:endParaRPr lang="en-US"/>
          </a:p>
          <a:p>
            <a:pPr lvl="0"/>
            <a:r>
              <a:rPr lang="en-US"/>
              <a:t>Libero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fames </a:t>
            </a:r>
            <a:r>
              <a:rPr lang="en-US" err="1"/>
              <a:t>penatib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 diam </a:t>
            </a:r>
            <a:r>
              <a:rPr lang="en-US" err="1"/>
              <a:t>platea</a:t>
            </a:r>
            <a:r>
              <a:rPr lang="en-US"/>
              <a:t>, </a:t>
            </a:r>
            <a:r>
              <a:rPr lang="en-US" err="1"/>
              <a:t>himenaeos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eros </a:t>
            </a:r>
            <a:r>
              <a:rPr lang="en-US" err="1"/>
              <a:t>congue</a:t>
            </a:r>
            <a:r>
              <a:rPr lang="en-US"/>
              <a:t> vestibulum ipsum </a:t>
            </a:r>
            <a:r>
              <a:rPr lang="en-US" err="1"/>
              <a:t>adipiscin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 g ligula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nequ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sociisetur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r>
              <a:rPr lang="en-US" err="1"/>
              <a:t>Quisque</a:t>
            </a:r>
            <a:r>
              <a:rPr lang="en-US"/>
              <a:t> </a:t>
            </a:r>
            <a:r>
              <a:rPr lang="en-US" err="1"/>
              <a:t>laoreet</a:t>
            </a:r>
            <a:endParaRPr lang="en-US"/>
          </a:p>
          <a:p>
            <a:pPr lvl="0"/>
            <a:r>
              <a:rPr lang="en-US" err="1"/>
              <a:t>Viverra</a:t>
            </a:r>
            <a:r>
              <a:rPr lang="en-US"/>
              <a:t> dolor eros semper </a:t>
            </a:r>
            <a:r>
              <a:rPr lang="en-US" err="1"/>
              <a:t>sociosqu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,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platea</a:t>
            </a:r>
            <a:r>
              <a:rPr lang="en-US"/>
              <a:t> cursus per </a:t>
            </a:r>
            <a:r>
              <a:rPr lang="en-US" err="1"/>
              <a:t>sid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auctor </a:t>
            </a:r>
            <a:r>
              <a:rPr lang="en-US" err="1"/>
              <a:t>incepto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r>
              <a:rPr lang="en-US" err="1"/>
              <a:t>Conubia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primis</a:t>
            </a:r>
            <a:endParaRPr lang="en-US"/>
          </a:p>
          <a:p>
            <a:pPr lvl="0"/>
            <a:r>
              <a:rPr lang="en-US"/>
              <a:t>Libero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fames </a:t>
            </a:r>
            <a:r>
              <a:rPr lang="en-US" err="1"/>
              <a:t>penatib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h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endrerit</a:t>
            </a:r>
            <a:r>
              <a:rPr lang="en-US"/>
              <a:t> diam </a:t>
            </a:r>
            <a:r>
              <a:rPr lang="en-US" err="1"/>
              <a:t>platea</a:t>
            </a:r>
            <a:r>
              <a:rPr lang="en-US"/>
              <a:t>, </a:t>
            </a:r>
            <a:r>
              <a:rPr lang="en-US" err="1"/>
              <a:t>himenaeos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eros </a:t>
            </a:r>
            <a:r>
              <a:rPr lang="en-US" err="1"/>
              <a:t>congue</a:t>
            </a:r>
            <a:r>
              <a:rPr lang="en-US"/>
              <a:t> vestibulum ipsum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nequ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sociisetur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.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23A93C1-26C8-7246-A60C-C403CB759C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4400" y="1235635"/>
            <a:ext cx="3009900" cy="2051538"/>
          </a:xfr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Light"/>
                <a:ea typeface="+mj-ea"/>
                <a:cs typeface="Calibri Light" panose="020F0302020204030204" pitchFamily="34" charset="0"/>
              </a:rPr>
              <a:t>Click to edit Master title style</a:t>
            </a:r>
            <a:endParaRPr kumimoji="0" lang="en-A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56F363A-A759-A646-97B7-B063F02DC54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6512" y="495992"/>
            <a:ext cx="569228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00" baseline="0">
                <a:solidFill>
                  <a:schemeClr val="tx2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67CC57D-A7D1-434A-84AB-06E26C1EDEB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86247" y="495992"/>
            <a:ext cx="1938053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50" baseline="0">
                <a:solidFill>
                  <a:schemeClr val="tx2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DELOITTE DIGITAL</a:t>
            </a:r>
          </a:p>
        </p:txBody>
      </p:sp>
    </p:spTree>
    <p:extLst>
      <p:ext uri="{BB962C8B-B14F-4D97-AF65-F5344CB8AC3E}">
        <p14:creationId xmlns:p14="http://schemas.microsoft.com/office/powerpoint/2010/main" val="205668426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: Sidebar - 3 Column Highlight - 2 -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brass&#10;&#10;Description automatically generated">
            <a:extLst>
              <a:ext uri="{FF2B5EF4-FFF2-40B4-BE49-F238E27FC236}">
                <a16:creationId xmlns:a16="http://schemas.microsoft.com/office/drawing/2014/main" id="{F1D460F9-EB1A-804D-B6A6-90FD865587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46626" y="316241"/>
            <a:ext cx="7545374" cy="258398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B3D235C-95B5-5B47-875E-76A6BBB2A607}"/>
              </a:ext>
            </a:extLst>
          </p:cNvPr>
          <p:cNvSpPr/>
          <p:nvPr userDrawn="1"/>
        </p:nvSpPr>
        <p:spPr bwMode="gray">
          <a:xfrm>
            <a:off x="4507832" y="571500"/>
            <a:ext cx="7684168" cy="5715000"/>
          </a:xfrm>
          <a:prstGeom prst="rect">
            <a:avLst/>
          </a:prstGeom>
          <a:solidFill>
            <a:srgbClr val="004F59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5C4337-5BFE-F74F-BFD1-A76C1C03F25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55394" y="1066800"/>
            <a:ext cx="3063894" cy="1818904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b="0" i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igula </a:t>
            </a:r>
            <a:r>
              <a:rPr lang="en-US" err="1"/>
              <a:t>justo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class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dictumst</a:t>
            </a:r>
            <a:r>
              <a:rPr lang="en-US"/>
              <a:t>, </a:t>
            </a:r>
            <a:r>
              <a:rPr lang="en-US" err="1"/>
              <a:t>aenean</a:t>
            </a:r>
            <a:r>
              <a:rPr lang="en-US"/>
              <a:t> non a in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. </a:t>
            </a:r>
            <a:r>
              <a:rPr lang="en-US" err="1"/>
              <a:t>Etu</a:t>
            </a:r>
            <a:r>
              <a:rPr lang="en-US"/>
              <a:t> </a:t>
            </a:r>
            <a:r>
              <a:rPr lang="en-US" err="1"/>
              <a:t>phasellus</a:t>
            </a:r>
            <a:r>
              <a:rPr lang="en-US"/>
              <a:t> ante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cum </a:t>
            </a:r>
            <a:r>
              <a:rPr lang="en-US" err="1"/>
              <a:t>risus</a:t>
            </a:r>
            <a:r>
              <a:rPr lang="en-US"/>
              <a:t> dolor </a:t>
            </a:r>
            <a:r>
              <a:rPr lang="en-US" err="1"/>
              <a:t>Etu</a:t>
            </a:r>
            <a:r>
              <a:rPr lang="en-US"/>
              <a:t> </a:t>
            </a:r>
            <a:r>
              <a:rPr lang="en-US" err="1"/>
              <a:t>phasellus</a:t>
            </a:r>
            <a:r>
              <a:rPr lang="en-US"/>
              <a:t> ante </a:t>
            </a:r>
            <a:r>
              <a:rPr lang="en-US" err="1"/>
              <a:t>Viverra</a:t>
            </a:r>
            <a:r>
              <a:rPr lang="en-US"/>
              <a:t> dolor eros semper </a:t>
            </a:r>
            <a:r>
              <a:rPr lang="en-US" err="1"/>
              <a:t>sociosqu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,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platea</a:t>
            </a:r>
            <a:r>
              <a:rPr lang="en-US"/>
              <a:t> cursus per </a:t>
            </a:r>
            <a:r>
              <a:rPr lang="en-US" err="1"/>
              <a:t>suscipi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id </a:t>
            </a:r>
            <a:r>
              <a:rPr lang="en-US" err="1"/>
              <a:t>risus</a:t>
            </a:r>
            <a:r>
              <a:rPr lang="en-US"/>
              <a:t> auctor </a:t>
            </a:r>
            <a:r>
              <a:rPr lang="en-US" err="1"/>
              <a:t>incepto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. 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05808D96-A577-AF40-9D56-1FF43AA9660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35112" y="1066800"/>
            <a:ext cx="3063894" cy="1818904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b="0" i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igula </a:t>
            </a:r>
            <a:r>
              <a:rPr lang="en-US" err="1"/>
              <a:t>justo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class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dictumst</a:t>
            </a:r>
            <a:r>
              <a:rPr lang="en-US"/>
              <a:t>, </a:t>
            </a:r>
            <a:r>
              <a:rPr lang="en-US" err="1"/>
              <a:t>aenean</a:t>
            </a:r>
            <a:r>
              <a:rPr lang="en-US"/>
              <a:t> non a in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. </a:t>
            </a:r>
            <a:r>
              <a:rPr lang="en-US" err="1"/>
              <a:t>Etu</a:t>
            </a:r>
            <a:r>
              <a:rPr lang="en-US"/>
              <a:t> </a:t>
            </a:r>
            <a:r>
              <a:rPr lang="en-US" err="1"/>
              <a:t>phasellus</a:t>
            </a:r>
            <a:r>
              <a:rPr lang="en-US"/>
              <a:t> ante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cum </a:t>
            </a:r>
            <a:r>
              <a:rPr lang="en-US" err="1"/>
              <a:t>risus</a:t>
            </a:r>
            <a:r>
              <a:rPr lang="en-US"/>
              <a:t> dolor </a:t>
            </a:r>
            <a:r>
              <a:rPr lang="en-US" err="1"/>
              <a:t>Etu</a:t>
            </a:r>
            <a:r>
              <a:rPr lang="en-US"/>
              <a:t> </a:t>
            </a:r>
            <a:r>
              <a:rPr lang="en-US" err="1"/>
              <a:t>phasellus</a:t>
            </a:r>
            <a:r>
              <a:rPr lang="en-US"/>
              <a:t> ante </a:t>
            </a:r>
            <a:r>
              <a:rPr lang="en-US" err="1"/>
              <a:t>Viverra</a:t>
            </a:r>
            <a:r>
              <a:rPr lang="en-US"/>
              <a:t> dolor eros semper </a:t>
            </a:r>
            <a:r>
              <a:rPr lang="en-US" err="1"/>
              <a:t>sociosqu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,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platea</a:t>
            </a:r>
            <a:r>
              <a:rPr lang="en-US"/>
              <a:t> cursus per </a:t>
            </a:r>
            <a:r>
              <a:rPr lang="en-US" err="1"/>
              <a:t>suscipi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id </a:t>
            </a:r>
            <a:r>
              <a:rPr lang="en-US" err="1"/>
              <a:t>risus</a:t>
            </a:r>
            <a:r>
              <a:rPr lang="en-US"/>
              <a:t> auctor </a:t>
            </a:r>
            <a:r>
              <a:rPr lang="en-US" err="1"/>
              <a:t>incepto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.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80E9A9B-D905-6744-B429-EF79B07587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53000" y="3429000"/>
            <a:ext cx="6286500" cy="192881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err="1"/>
              <a:t>Conubia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primis</a:t>
            </a:r>
            <a:endParaRPr lang="en-US"/>
          </a:p>
          <a:p>
            <a:pPr lvl="0"/>
            <a:r>
              <a:rPr lang="en-US"/>
              <a:t>Libero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fames </a:t>
            </a:r>
            <a:r>
              <a:rPr lang="en-US" err="1"/>
              <a:t>penatib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 diam </a:t>
            </a:r>
            <a:r>
              <a:rPr lang="en-US" err="1"/>
              <a:t>platea</a:t>
            </a:r>
            <a:r>
              <a:rPr lang="en-US"/>
              <a:t>, </a:t>
            </a:r>
            <a:r>
              <a:rPr lang="en-US" err="1"/>
              <a:t>himenaeos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eros </a:t>
            </a:r>
            <a:r>
              <a:rPr lang="en-US" err="1"/>
              <a:t>congue</a:t>
            </a:r>
            <a:r>
              <a:rPr lang="en-US"/>
              <a:t> vestibulum ipsum </a:t>
            </a:r>
            <a:r>
              <a:rPr lang="en-US" err="1"/>
              <a:t>adipiscin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 g ligula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nequ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sociisetur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r>
              <a:rPr lang="en-US" err="1"/>
              <a:t>Quisque</a:t>
            </a:r>
            <a:r>
              <a:rPr lang="en-US"/>
              <a:t> </a:t>
            </a:r>
            <a:r>
              <a:rPr lang="en-US" err="1"/>
              <a:t>laoreet</a:t>
            </a:r>
            <a:endParaRPr lang="en-US"/>
          </a:p>
          <a:p>
            <a:pPr lvl="0"/>
            <a:r>
              <a:rPr lang="en-US" err="1"/>
              <a:t>Viverra</a:t>
            </a:r>
            <a:r>
              <a:rPr lang="en-US"/>
              <a:t> dolor eros semper </a:t>
            </a:r>
            <a:r>
              <a:rPr lang="en-US" err="1"/>
              <a:t>sociosqu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,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platea</a:t>
            </a:r>
            <a:r>
              <a:rPr lang="en-US"/>
              <a:t> cursus per </a:t>
            </a:r>
            <a:r>
              <a:rPr lang="en-US" err="1"/>
              <a:t>sid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auctor </a:t>
            </a:r>
            <a:r>
              <a:rPr lang="en-US" err="1"/>
              <a:t>incepto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r>
              <a:rPr lang="en-US" err="1"/>
              <a:t>Conubia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primis</a:t>
            </a:r>
            <a:endParaRPr lang="en-US"/>
          </a:p>
          <a:p>
            <a:pPr lvl="0"/>
            <a:r>
              <a:rPr lang="en-US"/>
              <a:t>Libero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fames </a:t>
            </a:r>
            <a:r>
              <a:rPr lang="en-US" err="1"/>
              <a:t>penatib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h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endrerit</a:t>
            </a:r>
            <a:r>
              <a:rPr lang="en-US"/>
              <a:t> diam </a:t>
            </a:r>
            <a:r>
              <a:rPr lang="en-US" err="1"/>
              <a:t>platea</a:t>
            </a:r>
            <a:r>
              <a:rPr lang="en-US"/>
              <a:t>, </a:t>
            </a:r>
            <a:r>
              <a:rPr lang="en-US" err="1"/>
              <a:t>himenaeos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eros </a:t>
            </a:r>
            <a:r>
              <a:rPr lang="en-US" err="1"/>
              <a:t>congue</a:t>
            </a:r>
            <a:r>
              <a:rPr lang="en-US"/>
              <a:t> vestibulum ipsum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nequ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sociisetur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.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C6CFBB4-2358-3847-A891-56DD4504D0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4400" y="3429000"/>
            <a:ext cx="3009900" cy="1714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lvl1pPr>
          </a:lstStyle>
          <a:p>
            <a:pPr lvl="0"/>
            <a:r>
              <a:rPr lang="en-US"/>
              <a:t>7 lines running intro text. Morbi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, porta ac </a:t>
            </a:r>
            <a:r>
              <a:rPr lang="en-US" err="1"/>
              <a:t>consectetur</a:t>
            </a:r>
            <a:r>
              <a:rPr lang="en-US"/>
              <a:t> ac, vestibulum at eros. Donec sed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 Sed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t </a:t>
            </a:r>
            <a:r>
              <a:rPr lang="en-US" err="1"/>
              <a:t>lobortis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CA932F0-619D-AC43-A797-7FE8DE7E066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4400" y="1235635"/>
            <a:ext cx="3009900" cy="2051538"/>
          </a:xfr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Light"/>
                <a:ea typeface="+mj-ea"/>
                <a:cs typeface="Calibri Light" panose="020F0302020204030204" pitchFamily="34" charset="0"/>
              </a:rPr>
              <a:t>Click to edit Master title style</a:t>
            </a:r>
            <a:endParaRPr kumimoji="0" lang="en-A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D4982B0-1368-6A44-BF22-6DB52D72F7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6512" y="495992"/>
            <a:ext cx="569228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00" baseline="0">
                <a:solidFill>
                  <a:schemeClr val="tx2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BA3A501-B27D-E948-A2CA-6A950EDD8E9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86247" y="495992"/>
            <a:ext cx="2266776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50" baseline="0">
                <a:solidFill>
                  <a:schemeClr val="tx2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DELOITTE DIGITAL</a:t>
            </a:r>
          </a:p>
        </p:txBody>
      </p:sp>
    </p:spTree>
    <p:extLst>
      <p:ext uri="{BB962C8B-B14F-4D97-AF65-F5344CB8AC3E}">
        <p14:creationId xmlns:p14="http://schemas.microsoft.com/office/powerpoint/2010/main" val="805675711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: Sidebar - No Content -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FB7BEFD-9FA6-6642-B065-2AC63D884014}"/>
              </a:ext>
            </a:extLst>
          </p:cNvPr>
          <p:cNvSpPr/>
          <p:nvPr userDrawn="1"/>
        </p:nvSpPr>
        <p:spPr bwMode="gray">
          <a:xfrm flipH="1">
            <a:off x="-3" y="0"/>
            <a:ext cx="4953002" cy="6858000"/>
          </a:xfrm>
          <a:prstGeom prst="rect">
            <a:avLst/>
          </a:prstGeom>
          <a:solidFill>
            <a:srgbClr val="004F59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CCC8559E-F5E2-0347-840E-E629DC9F61B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914400" y="1218959"/>
            <a:ext cx="3162300" cy="13974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6627A73F-C8F9-C143-A124-0C1DFBD38A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4400" y="2959100"/>
            <a:ext cx="3009900" cy="1714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7 lines running intro text. Morbi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, porta ac </a:t>
            </a:r>
            <a:r>
              <a:rPr lang="en-US" err="1"/>
              <a:t>consectetur</a:t>
            </a:r>
            <a:r>
              <a:rPr lang="en-US"/>
              <a:t> ac, vestibulum at eros. Donec sed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 Sed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t </a:t>
            </a:r>
            <a:r>
              <a:rPr lang="en-US" err="1"/>
              <a:t>lobortis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928B8B3-E1F7-A641-89DC-53E0F210579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6512" y="495992"/>
            <a:ext cx="569228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00" baseline="0">
                <a:solidFill>
                  <a:schemeClr val="bg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48AE39B-AB7A-B24E-96E2-9B3F4693BD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86247" y="495992"/>
            <a:ext cx="2713344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50" baseline="0">
                <a:solidFill>
                  <a:schemeClr val="bg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DELOITTE DIGITAL</a:t>
            </a:r>
          </a:p>
        </p:txBody>
      </p:sp>
    </p:spTree>
    <p:extLst>
      <p:ext uri="{BB962C8B-B14F-4D97-AF65-F5344CB8AC3E}">
        <p14:creationId xmlns:p14="http://schemas.microsoft.com/office/powerpoint/2010/main" val="82385219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: Sidebar - Messaging -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FB7BEFD-9FA6-6642-B065-2AC63D884014}"/>
              </a:ext>
            </a:extLst>
          </p:cNvPr>
          <p:cNvSpPr/>
          <p:nvPr userDrawn="1"/>
        </p:nvSpPr>
        <p:spPr bwMode="gray">
          <a:xfrm flipH="1">
            <a:off x="-3" y="0"/>
            <a:ext cx="4953002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41AED56B-4FBA-7B41-8642-EECEFE511009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914400" y="1218959"/>
            <a:ext cx="3162300" cy="13974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33FE8BD-D45A-D947-B56A-6B35CC9BAFA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4400" y="2959100"/>
            <a:ext cx="3009900" cy="1714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7 lines running intro text. Morbi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, porta ac </a:t>
            </a:r>
            <a:r>
              <a:rPr lang="en-US" err="1"/>
              <a:t>consectetur</a:t>
            </a:r>
            <a:r>
              <a:rPr lang="en-US"/>
              <a:t> ac, vestibulum at eros. Donec sed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 Sed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t </a:t>
            </a:r>
            <a:r>
              <a:rPr lang="en-US" err="1"/>
              <a:t>lobortis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EADA8F4D-49E2-2C4C-8EFD-35EE530F2D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19800" y="1092200"/>
            <a:ext cx="5219700" cy="18288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lorem </a:t>
            </a:r>
            <a:r>
              <a:rPr lang="en-US" err="1"/>
              <a:t>primisetua</a:t>
            </a:r>
            <a:r>
              <a:rPr lang="en-US"/>
              <a:t>, </a:t>
            </a:r>
            <a:r>
              <a:rPr lang="en-US" err="1"/>
              <a:t>senectus</a:t>
            </a:r>
            <a:r>
              <a:rPr lang="en-US"/>
              <a:t> </a:t>
            </a:r>
            <a:r>
              <a:rPr lang="en-US" err="1"/>
              <a:t>habitasse</a:t>
            </a:r>
            <a:r>
              <a:rPr lang="en-US"/>
              <a:t> </a:t>
            </a:r>
            <a:r>
              <a:rPr lang="en-US" err="1"/>
              <a:t>lectusetu</a:t>
            </a:r>
            <a:r>
              <a:rPr lang="en-US"/>
              <a:t> </a:t>
            </a:r>
            <a:r>
              <a:rPr lang="en-US" err="1"/>
              <a:t>doler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,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 </a:t>
            </a:r>
            <a:r>
              <a:rPr lang="en-US" err="1"/>
              <a:t>pellentesque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mi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Massa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fringilla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=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class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dictumst</a:t>
            </a:r>
            <a:r>
              <a:rPr lang="en-US"/>
              <a:t>, </a:t>
            </a:r>
            <a:r>
              <a:rPr lang="en-US" err="1"/>
              <a:t>aenean</a:t>
            </a:r>
            <a:r>
              <a:rPr lang="en-US"/>
              <a:t> non a in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.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9F0D342F-3673-B847-BC99-40D039EE67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19800" y="3289300"/>
            <a:ext cx="5219700" cy="1766794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/>
            </a:lvl1pPr>
          </a:lstStyle>
          <a:p>
            <a:pPr lvl="0"/>
            <a:r>
              <a:rPr lang="en-US"/>
              <a:t>Felis </a:t>
            </a:r>
            <a:r>
              <a:rPr lang="en-US" err="1"/>
              <a:t>blandit</a:t>
            </a:r>
            <a:r>
              <a:rPr lang="en-US"/>
              <a:t> cursus</a:t>
            </a:r>
            <a:br>
              <a:rPr lang="en-US"/>
            </a:b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class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dictumst</a:t>
            </a:r>
            <a:r>
              <a:rPr lang="en-US"/>
              <a:t>, </a:t>
            </a:r>
            <a:r>
              <a:rPr lang="en-US" err="1"/>
              <a:t>aenean</a:t>
            </a:r>
            <a:r>
              <a:rPr lang="en-US"/>
              <a:t> non a in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nulla.Etu</a:t>
            </a:r>
            <a:r>
              <a:rPr lang="en-US"/>
              <a:t> </a:t>
            </a:r>
            <a:r>
              <a:rPr lang="en-US" err="1"/>
              <a:t>phasellus</a:t>
            </a:r>
            <a:r>
              <a:rPr lang="en-US"/>
              <a:t> ante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cum </a:t>
            </a:r>
            <a:r>
              <a:rPr lang="en-US" err="1"/>
              <a:t>risus</a:t>
            </a:r>
            <a:r>
              <a:rPr lang="en-US"/>
              <a:t> dolor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aliquam</a:t>
            </a:r>
            <a:r>
              <a:rPr lang="en-US"/>
              <a:t>, integer </a:t>
            </a:r>
            <a:r>
              <a:rPr lang="en-US" err="1"/>
              <a:t>placerat</a:t>
            </a:r>
            <a:r>
              <a:rPr lang="en-US"/>
              <a:t> et </a:t>
            </a:r>
            <a:r>
              <a:rPr lang="en-US" err="1"/>
              <a:t>turpis</a:t>
            </a:r>
            <a:r>
              <a:rPr lang="en-US"/>
              <a:t> mi eros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taciti</a:t>
            </a:r>
            <a:r>
              <a:rPr lang="en-US"/>
              <a:t>, </a:t>
            </a:r>
            <a:r>
              <a:rPr lang="en-US" err="1"/>
              <a:t>vehicula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litora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ligula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0D9845D-F9D1-BF4F-A74F-B37D037255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6512" y="495992"/>
            <a:ext cx="569228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00" baseline="0">
                <a:solidFill>
                  <a:schemeClr val="bg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E37137C-0549-F241-8EFF-61C923DB169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86247" y="495992"/>
            <a:ext cx="3488042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50" baseline="0">
                <a:solidFill>
                  <a:schemeClr val="bg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DELOITTE DIGITAL</a:t>
            </a:r>
          </a:p>
        </p:txBody>
      </p:sp>
    </p:spTree>
    <p:extLst>
      <p:ext uri="{BB962C8B-B14F-4D97-AF65-F5344CB8AC3E}">
        <p14:creationId xmlns:p14="http://schemas.microsoft.com/office/powerpoint/2010/main" val="198008408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itle -  Messaging -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brass&#10;&#10;Description automatically generated">
            <a:extLst>
              <a:ext uri="{FF2B5EF4-FFF2-40B4-BE49-F238E27FC236}">
                <a16:creationId xmlns:a16="http://schemas.microsoft.com/office/drawing/2014/main" id="{52370979-554F-DB4E-BDD5-F42E1F44B6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712" y="3832412"/>
            <a:ext cx="4960927" cy="3025587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7BD4F28-4FC1-5649-B494-BB5C90EA4BC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14400" y="1066800"/>
            <a:ext cx="10325100" cy="876300"/>
          </a:xfr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36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FED0BE4B-411D-B94D-BA6E-51A64861F5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36826" y="3872006"/>
            <a:ext cx="5702674" cy="2414494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/>
            </a:lvl1pPr>
          </a:lstStyle>
          <a:p>
            <a:pPr lvl="0"/>
            <a:r>
              <a:rPr lang="en-US" err="1"/>
              <a:t>Conubia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primis</a:t>
            </a:r>
            <a:endParaRPr lang="en-US"/>
          </a:p>
          <a:p>
            <a:pPr lvl="0"/>
            <a:r>
              <a:rPr lang="en-US"/>
              <a:t>Libero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fames </a:t>
            </a:r>
            <a:r>
              <a:rPr lang="en-US" err="1"/>
              <a:t>penatib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 diam </a:t>
            </a:r>
            <a:r>
              <a:rPr lang="en-US" err="1"/>
              <a:t>platea</a:t>
            </a:r>
            <a:r>
              <a:rPr lang="en-US"/>
              <a:t>, </a:t>
            </a:r>
            <a:r>
              <a:rPr lang="en-US" err="1"/>
              <a:t>himenaeos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eros </a:t>
            </a:r>
            <a:r>
              <a:rPr lang="en-US" err="1"/>
              <a:t>congue</a:t>
            </a:r>
            <a:r>
              <a:rPr lang="en-US"/>
              <a:t> vestibulum ipsum </a:t>
            </a:r>
            <a:r>
              <a:rPr lang="en-US" err="1"/>
              <a:t>adipiscin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 g ligula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nequ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sociisetur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r>
              <a:rPr lang="en-US" err="1"/>
              <a:t>Quisque</a:t>
            </a:r>
            <a:r>
              <a:rPr lang="en-US"/>
              <a:t> </a:t>
            </a:r>
            <a:r>
              <a:rPr lang="en-US" err="1"/>
              <a:t>laoreet</a:t>
            </a:r>
            <a:endParaRPr lang="en-US"/>
          </a:p>
          <a:p>
            <a:pPr lvl="0"/>
            <a:r>
              <a:rPr lang="en-US" err="1"/>
              <a:t>Viverra</a:t>
            </a:r>
            <a:r>
              <a:rPr lang="en-US"/>
              <a:t> dolor eros semper </a:t>
            </a:r>
            <a:r>
              <a:rPr lang="en-US" err="1"/>
              <a:t>sociosqu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,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platea</a:t>
            </a:r>
            <a:r>
              <a:rPr lang="en-US"/>
              <a:t> cursus per </a:t>
            </a:r>
            <a:r>
              <a:rPr lang="en-US" err="1"/>
              <a:t>sid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auctor </a:t>
            </a:r>
            <a:r>
              <a:rPr lang="en-US" err="1"/>
              <a:t>incepto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r>
              <a:rPr lang="en-US" err="1"/>
              <a:t>Conubia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primis</a:t>
            </a:r>
            <a:endParaRPr lang="en-US"/>
          </a:p>
          <a:p>
            <a:pPr lvl="0"/>
            <a:r>
              <a:rPr lang="en-US"/>
              <a:t>Libero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fames </a:t>
            </a:r>
            <a:r>
              <a:rPr lang="en-US" err="1"/>
              <a:t>penatib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h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endrerit</a:t>
            </a:r>
            <a:r>
              <a:rPr lang="en-US"/>
              <a:t> diam </a:t>
            </a:r>
            <a:r>
              <a:rPr lang="en-US" err="1"/>
              <a:t>platea</a:t>
            </a:r>
            <a:r>
              <a:rPr lang="en-US"/>
              <a:t>, </a:t>
            </a:r>
            <a:r>
              <a:rPr lang="en-US" err="1"/>
              <a:t>himenaeos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eros </a:t>
            </a:r>
            <a:r>
              <a:rPr lang="en-US" err="1"/>
              <a:t>congue</a:t>
            </a:r>
            <a:r>
              <a:rPr lang="en-US"/>
              <a:t> vestibulum ipsum </a:t>
            </a:r>
            <a:r>
              <a:rPr lang="en-US" err="1"/>
              <a:t>adipiscing</a:t>
            </a:r>
            <a:r>
              <a:rPr lang="en-US"/>
              <a:t> ligula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nequ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sociisetur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.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AA80DC85-C581-B443-9627-0FA86DDA81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400" y="2465668"/>
            <a:ext cx="9296400" cy="96333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lorem </a:t>
            </a:r>
            <a:r>
              <a:rPr lang="en-US" err="1"/>
              <a:t>primisetua</a:t>
            </a:r>
            <a:r>
              <a:rPr lang="en-US"/>
              <a:t>, </a:t>
            </a:r>
            <a:r>
              <a:rPr lang="en-US" err="1"/>
              <a:t>senectus</a:t>
            </a:r>
            <a:r>
              <a:rPr lang="en-US"/>
              <a:t> </a:t>
            </a:r>
            <a:r>
              <a:rPr lang="en-US" err="1"/>
              <a:t>habitasse</a:t>
            </a:r>
            <a:r>
              <a:rPr lang="en-US"/>
              <a:t> </a:t>
            </a:r>
            <a:r>
              <a:rPr lang="en-US" err="1"/>
              <a:t>lectusetu</a:t>
            </a:r>
            <a:r>
              <a:rPr lang="en-US"/>
              <a:t> </a:t>
            </a:r>
            <a:r>
              <a:rPr lang="en-US" err="1"/>
              <a:t>doler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,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 </a:t>
            </a:r>
            <a:r>
              <a:rPr lang="en-US" err="1"/>
              <a:t>pellentesque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mi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Massa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fringilla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=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class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dictumst</a:t>
            </a:r>
            <a:r>
              <a:rPr lang="en-US"/>
              <a:t>, </a:t>
            </a:r>
            <a:r>
              <a:rPr lang="en-US" err="1"/>
              <a:t>aenean</a:t>
            </a:r>
            <a:r>
              <a:rPr lang="en-US"/>
              <a:t> non a in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.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98D0712-CD30-954C-9E3D-E923E34D875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6512" y="495992"/>
            <a:ext cx="569228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00" baseline="0">
                <a:solidFill>
                  <a:schemeClr val="tx2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A120F89-DBFA-D14C-8068-32788E0315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86247" y="495992"/>
            <a:ext cx="3488042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50" baseline="0">
                <a:solidFill>
                  <a:schemeClr val="tx2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DELOITTE DIGITAL</a:t>
            </a:r>
          </a:p>
        </p:txBody>
      </p:sp>
    </p:spTree>
    <p:extLst>
      <p:ext uri="{BB962C8B-B14F-4D97-AF65-F5344CB8AC3E}">
        <p14:creationId xmlns:p14="http://schemas.microsoft.com/office/powerpoint/2010/main" val="2849538368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: No Content - Color Background -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C5A68138-9B79-A34C-8807-301BF1C1D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4400" y="812800"/>
            <a:ext cx="10325100" cy="7874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/>
              <a:t>Click to edit Master title s edit Master title style 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361D53D8-8D04-6E48-BB88-DA95C287DA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4400" y="1724535"/>
            <a:ext cx="9296400" cy="5842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lvl1pPr>
          </a:lstStyle>
          <a:p>
            <a:pPr lvl="0"/>
            <a:r>
              <a:rPr lang="en-US"/>
              <a:t>2 lines running intro text. Morbi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, porta ac </a:t>
            </a:r>
            <a:r>
              <a:rPr lang="en-US" err="1"/>
              <a:t>consectetur</a:t>
            </a:r>
            <a:r>
              <a:rPr lang="en-US"/>
              <a:t> ac, vestibulum at eros. Donec sed </a:t>
            </a:r>
            <a:r>
              <a:rPr lang="en-US" err="1"/>
              <a:t>odio</a:t>
            </a:r>
            <a:r>
              <a:rPr lang="en-US"/>
              <a:t> dui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cursus magna, vel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et. Sed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t </a:t>
            </a:r>
            <a:r>
              <a:rPr lang="en-US" err="1"/>
              <a:t>lobortis</a:t>
            </a:r>
            <a:r>
              <a:rPr lang="en-US"/>
              <a:t>.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43CBA7D-766F-8944-8698-FAE17505074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6512" y="495992"/>
            <a:ext cx="569228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00" baseline="0">
                <a:solidFill>
                  <a:schemeClr val="bg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8EB2A7D-B1CE-504A-A04B-D3A95A4332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86247" y="495992"/>
            <a:ext cx="3488042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50" baseline="0">
                <a:solidFill>
                  <a:schemeClr val="bg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DELOITTE DIGITAL</a:t>
            </a:r>
          </a:p>
        </p:txBody>
      </p:sp>
    </p:spTree>
    <p:extLst>
      <p:ext uri="{BB962C8B-B14F-4D97-AF65-F5344CB8AC3E}">
        <p14:creationId xmlns:p14="http://schemas.microsoft.com/office/powerpoint/2010/main" val="268481587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idebar - Story Messaging -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indoor, table, sitting, cake&#10;&#10;Description automatically generated">
            <a:extLst>
              <a:ext uri="{FF2B5EF4-FFF2-40B4-BE49-F238E27FC236}">
                <a16:creationId xmlns:a16="http://schemas.microsoft.com/office/drawing/2014/main" id="{034A8E13-7D2A-C24B-8479-D9FD009C0B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943475" cy="6868886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BAB6B2-829B-074B-A309-B3978A8AE2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9800" y="819150"/>
            <a:ext cx="5219700" cy="5219700"/>
          </a:xfrm>
        </p:spPr>
        <p:txBody>
          <a:bodyPr numCol="2" spcCol="4572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err="1"/>
              <a:t>Vivamus</a:t>
            </a:r>
            <a:r>
              <a:rPr lang="en-US"/>
              <a:t> integer non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taciti</a:t>
            </a:r>
            <a:r>
              <a:rPr lang="en-US"/>
              <a:t> </a:t>
            </a:r>
            <a:r>
              <a:rPr lang="en-US" err="1"/>
              <a:t>m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at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sit, </a:t>
            </a:r>
            <a:r>
              <a:rPr lang="en-US" err="1"/>
              <a:t>euismod</a:t>
            </a:r>
            <a:r>
              <a:rPr lang="en-US"/>
              <a:t> libero </a:t>
            </a:r>
            <a:r>
              <a:rPr lang="en-US" err="1"/>
              <a:t>facilisi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cursus gravida sociis </a:t>
            </a:r>
            <a:r>
              <a:rPr lang="en-US" err="1"/>
              <a:t>erat</a:t>
            </a:r>
            <a:r>
              <a:rPr lang="en-US"/>
              <a:t> ante,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dapibus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curabitur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Vivamus</a:t>
            </a:r>
            <a:r>
              <a:rPr lang="en-US"/>
              <a:t> integer non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taciti</a:t>
            </a:r>
            <a:r>
              <a:rPr lang="en-US"/>
              <a:t> </a:t>
            </a:r>
            <a:r>
              <a:rPr lang="en-US" err="1"/>
              <a:t>m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at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sit, </a:t>
            </a:r>
            <a:r>
              <a:rPr lang="en-US" err="1"/>
              <a:t>euismod</a:t>
            </a:r>
            <a:r>
              <a:rPr lang="en-US"/>
              <a:t> libero </a:t>
            </a:r>
            <a:r>
              <a:rPr lang="en-US" err="1"/>
              <a:t>facilisi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cursus gravida sociis </a:t>
            </a:r>
            <a:r>
              <a:rPr lang="en-US" err="1"/>
              <a:t>erat</a:t>
            </a:r>
            <a:r>
              <a:rPr lang="en-US"/>
              <a:t> ante,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nullam</a:t>
            </a:r>
            <a:r>
              <a:rPr lang="en-US"/>
              <a:t> integer non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taciti</a:t>
            </a:r>
            <a:r>
              <a:rPr lang="en-US"/>
              <a:t> </a:t>
            </a:r>
            <a:r>
              <a:rPr lang="en-US" err="1"/>
              <a:t>m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at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sit, </a:t>
            </a:r>
            <a:r>
              <a:rPr lang="en-US" err="1"/>
              <a:t>euismod</a:t>
            </a:r>
            <a:r>
              <a:rPr lang="en-US"/>
              <a:t> libero </a:t>
            </a:r>
            <a:r>
              <a:rPr lang="en-US" err="1"/>
              <a:t>facilisi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cursus gravida sociis </a:t>
            </a:r>
            <a:r>
              <a:rPr lang="en-US" err="1"/>
              <a:t>erat</a:t>
            </a:r>
            <a:r>
              <a:rPr lang="en-US"/>
              <a:t> ante,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dapibus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d.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Vivamus</a:t>
            </a:r>
            <a:r>
              <a:rPr lang="en-US"/>
              <a:t> integer non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taciti</a:t>
            </a:r>
            <a:r>
              <a:rPr lang="en-US"/>
              <a:t> </a:t>
            </a:r>
            <a:r>
              <a:rPr lang="en-US" err="1"/>
              <a:t>m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at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sit, </a:t>
            </a:r>
            <a:r>
              <a:rPr lang="en-US" err="1"/>
              <a:t>euismod</a:t>
            </a:r>
            <a:r>
              <a:rPr lang="en-US"/>
              <a:t> libero </a:t>
            </a:r>
            <a:r>
              <a:rPr lang="en-US" err="1"/>
              <a:t>facilisi</a:t>
            </a:r>
            <a:r>
              <a:rPr lang="en-US"/>
              <a:t> patent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cursus gravida sociis </a:t>
            </a:r>
            <a:r>
              <a:rPr lang="en-US" err="1"/>
              <a:t>erat</a:t>
            </a:r>
            <a:r>
              <a:rPr lang="en-US"/>
              <a:t> ante,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dapibus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curabitur</a:t>
            </a:r>
            <a:endParaRPr lang="en-US"/>
          </a:p>
          <a:p>
            <a:pPr lvl="0"/>
            <a:r>
              <a:rPr lang="en-US" err="1"/>
              <a:t>Vivamus</a:t>
            </a:r>
            <a:r>
              <a:rPr lang="en-US"/>
              <a:t> integer non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taciti</a:t>
            </a:r>
            <a:r>
              <a:rPr lang="en-US"/>
              <a:t> </a:t>
            </a:r>
            <a:r>
              <a:rPr lang="en-US" err="1"/>
              <a:t>m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at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sit, </a:t>
            </a:r>
            <a:r>
              <a:rPr lang="en-US" err="1"/>
              <a:t>euismod</a:t>
            </a:r>
            <a:r>
              <a:rPr lang="en-US"/>
              <a:t> libero </a:t>
            </a:r>
            <a:r>
              <a:rPr lang="en-US" err="1"/>
              <a:t>facilisi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cursus gravida sociis </a:t>
            </a:r>
            <a:r>
              <a:rPr lang="en-US" err="1"/>
              <a:t>erat</a:t>
            </a:r>
            <a:r>
              <a:rPr lang="en-US"/>
              <a:t> ante,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dapibus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curabitur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Vivamus</a:t>
            </a:r>
            <a:r>
              <a:rPr lang="en-US"/>
              <a:t> integer non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taciti</a:t>
            </a:r>
            <a:r>
              <a:rPr lang="en-US"/>
              <a:t> </a:t>
            </a:r>
            <a:r>
              <a:rPr lang="en-US" err="1"/>
              <a:t>m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at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sit, </a:t>
            </a:r>
            <a:r>
              <a:rPr lang="en-US" err="1"/>
              <a:t>euismod</a:t>
            </a:r>
            <a:r>
              <a:rPr lang="en-US"/>
              <a:t> libero </a:t>
            </a:r>
            <a:r>
              <a:rPr lang="en-US" err="1"/>
              <a:t>facilisi</a:t>
            </a:r>
            <a:r>
              <a:rPr lang="en-US"/>
              <a:t>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cursus gravida sociis </a:t>
            </a:r>
            <a:r>
              <a:rPr lang="en-US" err="1"/>
              <a:t>erat</a:t>
            </a:r>
            <a:r>
              <a:rPr lang="en-US"/>
              <a:t> ante,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dapibus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curabitur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D1B24B2-E2E7-594C-92A7-947FF47C9E5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6512" y="495992"/>
            <a:ext cx="569228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00" baseline="0">
                <a:solidFill>
                  <a:schemeClr val="tx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DB2DF60-8F60-B945-8927-7A1A0AD830A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86247" y="495992"/>
            <a:ext cx="3488042" cy="139781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700" b="1" cap="all" spc="150" baseline="0">
                <a:solidFill>
                  <a:schemeClr val="tx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DELOITTE DIGITAL</a:t>
            </a:r>
          </a:p>
        </p:txBody>
      </p:sp>
    </p:spTree>
    <p:extLst>
      <p:ext uri="{BB962C8B-B14F-4D97-AF65-F5344CB8AC3E}">
        <p14:creationId xmlns:p14="http://schemas.microsoft.com/office/powerpoint/2010/main" val="74116128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0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Yer Tutucusu 1">
            <a:extLst>
              <a:ext uri="{FF2B5EF4-FFF2-40B4-BE49-F238E27FC236}">
                <a16:creationId xmlns:a16="http://schemas.microsoft.com/office/drawing/2014/main" id="{582EAC60-0822-4F47-9A30-D193853E2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/>
              <a:t>Asıl başlık stilini düzenlemek için tıklayın</a:t>
            </a:r>
            <a:endParaRPr lang="en-US"/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69BF5DB0-584A-445E-BC84-0857E1B47D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  <a:endParaRPr lang="en-US"/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24BBCF6A-65C2-4D08-829D-DB92A12840F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7D5679-8147-4208-AAA0-2764F0861D10}" type="datetimeFigureOut">
              <a:rPr lang="en-US" smtClean="0"/>
              <a:t>12/11/2021</a:t>
            </a:fld>
            <a:endParaRPr lang="en-US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44B57843-D6FC-4786-9181-C3A2C0278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000815D7-84EA-440C-91CB-DF55E4F706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E4941B-0C0C-4015-80F4-71582E9B4E8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07A199F4-0FAB-4ADF-914A-C5D2EEB3AC3D}"/>
              </a:ext>
            </a:extLst>
          </p:cNvPr>
          <p:cNvSpPr>
            <a:spLocks/>
          </p:cNvSpPr>
          <p:nvPr userDrawn="1"/>
        </p:nvSpPr>
        <p:spPr bwMode="auto">
          <a:xfrm>
            <a:off x="914719" y="6286500"/>
            <a:ext cx="306173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Autofit/>
          </a:bodyPr>
          <a:lstStyle/>
          <a:p>
            <a:fld id="{C84F2FB2-4A16-1542-BD5E-F56870239E74}" type="slidenum">
              <a:rPr lang="tr-TR" sz="800" noProof="0" smtClean="0">
                <a:solidFill>
                  <a:schemeClr val="bg1">
                    <a:lumMod val="65000"/>
                  </a:schemeClr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pPr/>
              <a:t>‹#›</a:t>
            </a:fld>
            <a:r>
              <a:rPr lang="tr-TR" sz="800" noProof="0">
                <a:solidFill>
                  <a:schemeClr val="bg1">
                    <a:lumMod val="65000"/>
                  </a:schemeClr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 |  </a:t>
            </a:r>
            <a:r>
              <a:rPr lang="en-US" sz="800" noProof="0">
                <a:solidFill>
                  <a:schemeClr val="bg1">
                    <a:lumMod val="65000"/>
                  </a:schemeClr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All rights reserved. </a:t>
            </a:r>
            <a:r>
              <a:rPr lang="tr-TR" sz="800" noProof="0" err="1">
                <a:solidFill>
                  <a:schemeClr val="bg1">
                    <a:lumMod val="65000"/>
                  </a:schemeClr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Copyright</a:t>
            </a:r>
            <a:r>
              <a:rPr lang="tr-TR" sz="800" noProof="0">
                <a:solidFill>
                  <a:schemeClr val="bg1">
                    <a:lumMod val="65000"/>
                  </a:schemeClr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© 202</a:t>
            </a:r>
            <a:r>
              <a:rPr lang="en-US" sz="800" noProof="0">
                <a:solidFill>
                  <a:schemeClr val="bg1">
                    <a:lumMod val="65000"/>
                  </a:schemeClr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1</a:t>
            </a:r>
            <a:r>
              <a:rPr lang="tr-TR" sz="800" noProof="0">
                <a:solidFill>
                  <a:schemeClr val="bg1">
                    <a:lumMod val="65000"/>
                  </a:schemeClr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Deloitte Danışmanlık A.Ş.</a:t>
            </a:r>
          </a:p>
        </p:txBody>
      </p:sp>
    </p:spTree>
    <p:extLst>
      <p:ext uri="{BB962C8B-B14F-4D97-AF65-F5344CB8AC3E}">
        <p14:creationId xmlns:p14="http://schemas.microsoft.com/office/powerpoint/2010/main" val="1996421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9" r:id="rId1"/>
    <p:sldLayoutId id="2147484250" r:id="rId2"/>
    <p:sldLayoutId id="2147484251" r:id="rId3"/>
    <p:sldLayoutId id="2147484252" r:id="rId4"/>
    <p:sldLayoutId id="2147484253" r:id="rId5"/>
    <p:sldLayoutId id="2147484254" r:id="rId6"/>
    <p:sldLayoutId id="2147484255" r:id="rId7"/>
    <p:sldLayoutId id="2147484256" r:id="rId8"/>
    <p:sldLayoutId id="2147484257" r:id="rId9"/>
    <p:sldLayoutId id="2147484258" r:id="rId10"/>
    <p:sldLayoutId id="2147484259" r:id="rId11"/>
    <p:sldLayoutId id="2147484260" r:id="rId12"/>
    <p:sldLayoutId id="2147484173" r:id="rId13"/>
    <p:sldLayoutId id="2147484174" r:id="rId14"/>
    <p:sldLayoutId id="2147484175" r:id="rId15"/>
    <p:sldLayoutId id="2147484176" r:id="rId16"/>
    <p:sldLayoutId id="2147484203" r:id="rId17"/>
    <p:sldLayoutId id="2147484204" r:id="rId18"/>
    <p:sldLayoutId id="2147484205" r:id="rId19"/>
    <p:sldLayoutId id="2147484206" r:id="rId20"/>
    <p:sldLayoutId id="2147484207" r:id="rId21"/>
    <p:sldLayoutId id="2147484208" r:id="rId22"/>
    <p:sldLayoutId id="2147484209" r:id="rId23"/>
    <p:sldLayoutId id="2147484211" r:id="rId24"/>
    <p:sldLayoutId id="2147484212" r:id="rId25"/>
    <p:sldLayoutId id="2147484213" r:id="rId26"/>
    <p:sldLayoutId id="2147484214" r:id="rId27"/>
    <p:sldLayoutId id="2147484215" r:id="rId28"/>
    <p:sldLayoutId id="2147484216" r:id="rId29"/>
    <p:sldLayoutId id="2147484217" r:id="rId30"/>
    <p:sldLayoutId id="2147484218" r:id="rId31"/>
    <p:sldLayoutId id="2147484219" r:id="rId32"/>
    <p:sldLayoutId id="2147484220" r:id="rId33"/>
    <p:sldLayoutId id="2147484221" r:id="rId34"/>
    <p:sldLayoutId id="2147484222" r:id="rId35"/>
    <p:sldLayoutId id="2147484195" r:id="rId36"/>
    <p:sldLayoutId id="2147484194" r:id="rId37"/>
    <p:sldLayoutId id="2147484196" r:id="rId38"/>
    <p:sldLayoutId id="2147484197" r:id="rId39"/>
    <p:sldLayoutId id="2147484199" r:id="rId40"/>
    <p:sldLayoutId id="2147484198" r:id="rId41"/>
    <p:sldLayoutId id="2147484200" r:id="rId42"/>
    <p:sldLayoutId id="2147484201" r:id="rId43"/>
    <p:sldLayoutId id="2147484202" r:id="rId44"/>
    <p:sldLayoutId id="2147484224" r:id="rId45"/>
    <p:sldLayoutId id="2147484225" r:id="rId46"/>
    <p:sldLayoutId id="2147484226" r:id="rId47"/>
    <p:sldLayoutId id="2147484227" r:id="rId48"/>
    <p:sldLayoutId id="2147484228" r:id="rId49"/>
    <p:sldLayoutId id="2147484229" r:id="rId50"/>
    <p:sldLayoutId id="2147484230" r:id="rId51"/>
    <p:sldLayoutId id="2147484231" r:id="rId52"/>
    <p:sldLayoutId id="2147484232" r:id="rId53"/>
    <p:sldLayoutId id="2147484233" r:id="rId54"/>
    <p:sldLayoutId id="2147484234" r:id="rId55"/>
    <p:sldLayoutId id="2147484235" r:id="rId56"/>
    <p:sldLayoutId id="2147484236" r:id="rId57"/>
    <p:sldLayoutId id="2147484237" r:id="rId58"/>
    <p:sldLayoutId id="2147484238" r:id="rId59"/>
    <p:sldLayoutId id="2147484239" r:id="rId60"/>
    <p:sldLayoutId id="2147484242" r:id="rId61"/>
    <p:sldLayoutId id="2147484243" r:id="rId62"/>
    <p:sldLayoutId id="2147484240" r:id="rId63"/>
    <p:sldLayoutId id="2147484241" r:id="rId64"/>
    <p:sldLayoutId id="2147484164" r:id="rId65"/>
    <p:sldLayoutId id="2147484162" r:id="rId66"/>
    <p:sldLayoutId id="2147484131" r:id="rId67"/>
    <p:sldLayoutId id="2147484177" r:id="rId68"/>
    <p:sldLayoutId id="2147484178" r:id="rId69"/>
    <p:sldLayoutId id="2147484244" r:id="rId70"/>
    <p:sldLayoutId id="2147484247" r:id="rId71"/>
    <p:sldLayoutId id="2147484151" r:id="rId72"/>
    <p:sldLayoutId id="2147484145" r:id="rId73"/>
    <p:sldLayoutId id="2147484179" r:id="rId74"/>
    <p:sldLayoutId id="2147484180" r:id="rId75"/>
    <p:sldLayoutId id="2147484150" r:id="rId76"/>
    <p:sldLayoutId id="2147484181" r:id="rId77"/>
    <p:sldLayoutId id="2147484182" r:id="rId78"/>
    <p:sldLayoutId id="2147484183" r:id="rId79"/>
    <p:sldLayoutId id="2147484184" r:id="rId80"/>
    <p:sldLayoutId id="2147484185" r:id="rId81"/>
    <p:sldLayoutId id="2147484186" r:id="rId82"/>
    <p:sldLayoutId id="2147484223" r:id="rId83"/>
    <p:sldLayoutId id="2147484187" r:id="rId84"/>
    <p:sldLayoutId id="2147484188" r:id="rId85"/>
    <p:sldLayoutId id="2147484189" r:id="rId86"/>
    <p:sldLayoutId id="2147484146" r:id="rId87"/>
    <p:sldLayoutId id="2147484147" r:id="rId88"/>
    <p:sldLayoutId id="2147484148" r:id="rId89"/>
    <p:sldLayoutId id="2147484149" r:id="rId90"/>
    <p:sldLayoutId id="2147484165" r:id="rId91"/>
    <p:sldLayoutId id="2147484168" r:id="rId92"/>
    <p:sldLayoutId id="2147484167" r:id="rId93"/>
    <p:sldLayoutId id="2147484169" r:id="rId94"/>
    <p:sldLayoutId id="2147484163" r:id="rId95"/>
    <p:sldLayoutId id="2147484166" r:id="rId96"/>
    <p:sldLayoutId id="2147484170" r:id="rId97"/>
    <p:sldLayoutId id="2147484161" r:id="rId98"/>
    <p:sldLayoutId id="2147484171" r:id="rId99"/>
    <p:sldLayoutId id="2147484172" r:id="rId100"/>
  </p:sldLayoutIdLst>
  <p:transition>
    <p:fade/>
  </p:transition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gi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72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1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7" Type="http://schemas.openxmlformats.org/officeDocument/2006/relationships/image" Target="../media/image78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g"/><Relationship Id="rId2" Type="http://schemas.openxmlformats.org/officeDocument/2006/relationships/image" Target="../media/image79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2.png"/><Relationship Id="rId5" Type="http://schemas.openxmlformats.org/officeDocument/2006/relationships/image" Target="../media/image84.svg"/><Relationship Id="rId4" Type="http://schemas.openxmlformats.org/officeDocument/2006/relationships/image" Target="../media/image8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6.png"/><Relationship Id="rId5" Type="http://schemas.openxmlformats.org/officeDocument/2006/relationships/image" Target="../media/image7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49BF408-EF59-45FF-A355-1D89DC65DD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9180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49BF408-EF59-45FF-A355-1D89DC65DD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0D0E71-E1F0-4F4A-BBE7-08B1CADC10E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299700" y="6483350"/>
            <a:ext cx="1892300" cy="374650"/>
          </a:xfrm>
        </p:spPr>
        <p:txBody>
          <a:bodyPr>
            <a:normAutofit fontScale="47500" lnSpcReduction="20000"/>
          </a:bodyPr>
          <a:lstStyle/>
          <a:p>
            <a:r>
              <a:rPr lang="tr-TR" b="1" dirty="0">
                <a:solidFill>
                  <a:schemeClr val="bg1"/>
                </a:solidFill>
              </a:rPr>
              <a:t>12</a:t>
            </a:r>
            <a:r>
              <a:rPr lang="en-US" b="1" dirty="0">
                <a:solidFill>
                  <a:schemeClr val="bg1"/>
                </a:solidFill>
              </a:rPr>
              <a:t> December, 2021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C28770D-BECD-4637-8820-BBCF9AF6DE6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37067" y="318778"/>
            <a:ext cx="10318044" cy="162718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4000" b="1" dirty="0">
                <a:solidFill>
                  <a:schemeClr val="bg1"/>
                </a:solidFill>
                <a:latin typeface="Baloo Paaji 2" panose="03080502040302020200" pitchFamily="66" charset="-94"/>
                <a:cs typeface="Baloo Paaji 2" panose="03080502040302020200" pitchFamily="66" charset="-94"/>
              </a:rPr>
              <a:t>What do you think if cargo companies were more environmentally friendly?</a:t>
            </a:r>
          </a:p>
        </p:txBody>
      </p:sp>
      <p:sp>
        <p:nvSpPr>
          <p:cNvPr id="15" name="Metin kutusu 14">
            <a:extLst>
              <a:ext uri="{FF2B5EF4-FFF2-40B4-BE49-F238E27FC236}">
                <a16:creationId xmlns:a16="http://schemas.microsoft.com/office/drawing/2014/main" id="{2CA6A5C3-B833-4E3D-A7B8-E1A958A327DC}"/>
              </a:ext>
            </a:extLst>
          </p:cNvPr>
          <p:cNvSpPr txBox="1"/>
          <p:nvPr/>
        </p:nvSpPr>
        <p:spPr>
          <a:xfrm>
            <a:off x="5295460" y="3735442"/>
            <a:ext cx="6739467" cy="16498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107000"/>
              </a:lnSpc>
              <a:spcAft>
                <a:spcPts val="800"/>
              </a:spcAft>
            </a:pPr>
            <a:r>
              <a:rPr lang="en-US" sz="3200" dirty="0">
                <a:solidFill>
                  <a:srgbClr val="00B0F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igh amount of carbon dioxide created by cargo companies through large distribution networks. </a:t>
            </a:r>
            <a:endParaRPr lang="en-US" sz="2800" dirty="0">
              <a:solidFill>
                <a:srgbClr val="00B0F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Resim 4">
            <a:extLst>
              <a:ext uri="{FF2B5EF4-FFF2-40B4-BE49-F238E27FC236}">
                <a16:creationId xmlns:a16="http://schemas.microsoft.com/office/drawing/2014/main" id="{8420EC81-A6FA-4855-A72C-89F984545712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-296739" y="4255452"/>
            <a:ext cx="5079999" cy="3048000"/>
          </a:xfrm>
          <a:prstGeom prst="rect">
            <a:avLst/>
          </a:prstGeom>
        </p:spPr>
      </p:pic>
      <p:sp>
        <p:nvSpPr>
          <p:cNvPr id="6" name="Dikdörtgen 5">
            <a:extLst>
              <a:ext uri="{FF2B5EF4-FFF2-40B4-BE49-F238E27FC236}">
                <a16:creationId xmlns:a16="http://schemas.microsoft.com/office/drawing/2014/main" id="{9FAB7CD8-799C-4D7E-955A-2816357CB85F}"/>
              </a:ext>
            </a:extLst>
          </p:cNvPr>
          <p:cNvSpPr/>
          <p:nvPr/>
        </p:nvSpPr>
        <p:spPr>
          <a:xfrm>
            <a:off x="71120" y="5200587"/>
            <a:ext cx="1911998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tr-TR" b="1" cap="none" spc="0" dirty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aloo Paaji 2" panose="03080502040302020200"/>
              </a:rPr>
              <a:t>Less</a:t>
            </a:r>
            <a:r>
              <a:rPr lang="tr-TR" b="1" cap="none" spc="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aloo Paaji 2" panose="03080502040302020200"/>
              </a:rPr>
              <a:t> </a:t>
            </a:r>
            <a:r>
              <a:rPr lang="tr-TR" b="1" cap="none" spc="0" dirty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aloo Paaji 2" panose="03080502040302020200"/>
              </a:rPr>
              <a:t>carbon</a:t>
            </a:r>
            <a:r>
              <a:rPr lang="tr-TR" b="1" cap="none" spc="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aloo Paaji 2" panose="03080502040302020200"/>
              </a:rPr>
              <a:t>, </a:t>
            </a:r>
            <a:r>
              <a:rPr lang="tr-TR" b="1" cap="none" spc="0" dirty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aloo Paaji 2" panose="03080502040302020200"/>
              </a:rPr>
              <a:t>more</a:t>
            </a:r>
            <a:endParaRPr lang="tr-TR" b="1" cap="none" spc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Baloo Paaji 2" panose="03080502040302020200"/>
            </a:endParaRP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C9156C12-B6D3-4411-9228-3216CDC153FE}"/>
              </a:ext>
            </a:extLst>
          </p:cNvPr>
          <p:cNvSpPr txBox="1">
            <a:spLocks/>
          </p:cNvSpPr>
          <p:nvPr/>
        </p:nvSpPr>
        <p:spPr>
          <a:xfrm>
            <a:off x="1071473" y="1680340"/>
            <a:ext cx="3327807" cy="16271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tr-TR" b="1" dirty="0">
                <a:solidFill>
                  <a:schemeClr val="bg1"/>
                </a:solidFill>
                <a:latin typeface="Baloo Paaji 2" panose="03080502040302020200" pitchFamily="66" charset="-94"/>
                <a:cs typeface="Baloo Paaji 2" panose="03080502040302020200" pitchFamily="66" charset="-94"/>
              </a:rPr>
              <a:t>	            As-is</a:t>
            </a:r>
            <a:endParaRPr lang="tr-TR" sz="4000" b="1" dirty="0">
              <a:solidFill>
                <a:schemeClr val="bg1"/>
              </a:solidFill>
              <a:latin typeface="Baloo Paaji 2" panose="03080502040302020200" pitchFamily="66" charset="-94"/>
              <a:cs typeface="Baloo Paaji 2" panose="03080502040302020200" pitchFamily="66" charset="-94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tr-TR" sz="4000" b="1" dirty="0">
                <a:solidFill>
                  <a:schemeClr val="bg1"/>
                </a:solidFill>
                <a:latin typeface="Baloo Paaji 2" panose="03080502040302020200" pitchFamily="66" charset="-94"/>
                <a:cs typeface="Baloo Paaji 2" panose="03080502040302020200" pitchFamily="66" charset="-94"/>
              </a:rPr>
              <a:t>               $4.99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tr-TR" sz="1800" dirty="0">
                <a:solidFill>
                  <a:schemeClr val="bg1"/>
                </a:solidFill>
                <a:latin typeface="Baloo Paaji 2" panose="03080502040302020200" pitchFamily="66" charset="-94"/>
                <a:cs typeface="Baloo Paaji 2" panose="03080502040302020200" pitchFamily="66" charset="-94"/>
              </a:rPr>
              <a:t>                                 (</a:t>
            </a:r>
            <a:r>
              <a:rPr lang="tr-TR" sz="1800" dirty="0" err="1">
                <a:solidFill>
                  <a:schemeClr val="bg1"/>
                </a:solidFill>
                <a:latin typeface="Baloo Paaji 2" panose="03080502040302020200" pitchFamily="66" charset="-94"/>
                <a:cs typeface="Baloo Paaji 2" panose="03080502040302020200" pitchFamily="66" charset="-94"/>
              </a:rPr>
              <a:t>per</a:t>
            </a:r>
            <a:r>
              <a:rPr lang="tr-TR" sz="1800" dirty="0">
                <a:solidFill>
                  <a:schemeClr val="bg1"/>
                </a:solidFill>
                <a:latin typeface="Baloo Paaji 2" panose="03080502040302020200" pitchFamily="66" charset="-94"/>
                <a:cs typeface="Baloo Paaji 2" panose="03080502040302020200" pitchFamily="66" charset="-94"/>
              </a:rPr>
              <a:t> </a:t>
            </a:r>
            <a:r>
              <a:rPr lang="tr-TR" sz="1800" dirty="0" err="1">
                <a:solidFill>
                  <a:schemeClr val="bg1"/>
                </a:solidFill>
                <a:latin typeface="Baloo Paaji 2" panose="03080502040302020200" pitchFamily="66" charset="-94"/>
                <a:cs typeface="Baloo Paaji 2" panose="03080502040302020200" pitchFamily="66" charset="-94"/>
              </a:rPr>
              <a:t>package</a:t>
            </a:r>
            <a:r>
              <a:rPr lang="tr-TR" sz="1800" dirty="0">
                <a:solidFill>
                  <a:schemeClr val="bg1"/>
                </a:solidFill>
                <a:latin typeface="Baloo Paaji 2" panose="03080502040302020200" pitchFamily="66" charset="-94"/>
                <a:cs typeface="Baloo Paaji 2" panose="03080502040302020200" pitchFamily="66" charset="-94"/>
              </a:rPr>
              <a:t>)</a:t>
            </a:r>
            <a:endParaRPr lang="en-US" sz="1800" dirty="0">
              <a:solidFill>
                <a:schemeClr val="bg1"/>
              </a:solidFill>
              <a:latin typeface="Baloo Paaji 2" panose="03080502040302020200" pitchFamily="66" charset="-94"/>
              <a:cs typeface="Baloo Paaji 2" panose="03080502040302020200" pitchFamily="66" charset="-94"/>
            </a:endParaRP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FD4FD8D6-6E9B-4AF8-A073-EF5BE1DC5C7A}"/>
              </a:ext>
            </a:extLst>
          </p:cNvPr>
          <p:cNvSpPr txBox="1">
            <a:spLocks/>
          </p:cNvSpPr>
          <p:nvPr/>
        </p:nvSpPr>
        <p:spPr>
          <a:xfrm>
            <a:off x="4718913" y="1678370"/>
            <a:ext cx="3327807" cy="16271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tr-TR" b="1" dirty="0">
                <a:solidFill>
                  <a:schemeClr val="bg1"/>
                </a:solidFill>
                <a:latin typeface="Baloo Paaji 2" panose="03080502040302020200" pitchFamily="66" charset="-94"/>
                <a:cs typeface="Baloo Paaji 2" panose="03080502040302020200" pitchFamily="66" charset="-94"/>
              </a:rPr>
              <a:t>	    </a:t>
            </a:r>
            <a:r>
              <a:rPr lang="tr-TR" b="1" dirty="0" err="1">
                <a:solidFill>
                  <a:schemeClr val="bg1"/>
                </a:solidFill>
                <a:latin typeface="Baloo Paaji 2" panose="03080502040302020200" pitchFamily="66" charset="-94"/>
                <a:cs typeface="Baloo Paaji 2" panose="03080502040302020200" pitchFamily="66" charset="-94"/>
              </a:rPr>
              <a:t>Eco-friendly</a:t>
            </a:r>
            <a:r>
              <a:rPr lang="tr-TR" b="1" dirty="0">
                <a:solidFill>
                  <a:schemeClr val="bg1"/>
                </a:solidFill>
                <a:latin typeface="Baloo Paaji 2" panose="03080502040302020200" pitchFamily="66" charset="-94"/>
                <a:cs typeface="Baloo Paaji 2" panose="03080502040302020200" pitchFamily="66" charset="-94"/>
              </a:rPr>
              <a:t> </a:t>
            </a:r>
            <a:endParaRPr lang="tr-TR" sz="4000" b="1" dirty="0">
              <a:solidFill>
                <a:schemeClr val="bg1"/>
              </a:solidFill>
              <a:latin typeface="Baloo Paaji 2" panose="03080502040302020200" pitchFamily="66" charset="-94"/>
              <a:cs typeface="Baloo Paaji 2" panose="03080502040302020200" pitchFamily="66" charset="-94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tr-TR" sz="4000" b="1" dirty="0">
                <a:solidFill>
                  <a:schemeClr val="bg1"/>
                </a:solidFill>
                <a:latin typeface="Baloo Paaji 2" panose="03080502040302020200" pitchFamily="66" charset="-94"/>
                <a:cs typeface="Baloo Paaji 2" panose="03080502040302020200" pitchFamily="66" charset="-94"/>
              </a:rPr>
              <a:t>             $5.99</a:t>
            </a:r>
            <a:endParaRPr lang="en-US" sz="4000" b="1" dirty="0">
              <a:solidFill>
                <a:schemeClr val="bg1"/>
              </a:solidFill>
              <a:latin typeface="Baloo Paaji 2" panose="03080502040302020200" pitchFamily="66" charset="-94"/>
              <a:cs typeface="Baloo Paaji 2" panose="03080502040302020200" pitchFamily="66" charset="-94"/>
            </a:endParaRPr>
          </a:p>
        </p:txBody>
      </p:sp>
      <p:pic>
        <p:nvPicPr>
          <p:cNvPr id="1040" name="Picture 16" descr="Click Subscribe Sticker - Click Subscribe Pointing Up - Discover &amp;amp; Share  GIFs">
            <a:extLst>
              <a:ext uri="{FF2B5EF4-FFF2-40B4-BE49-F238E27FC236}">
                <a16:creationId xmlns:a16="http://schemas.microsoft.com/office/drawing/2014/main" id="{1581A143-FE17-4688-817F-7339250CC747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2890" y="2837312"/>
            <a:ext cx="600710" cy="715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910957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Resim 18">
            <a:extLst>
              <a:ext uri="{FF2B5EF4-FFF2-40B4-BE49-F238E27FC236}">
                <a16:creationId xmlns:a16="http://schemas.microsoft.com/office/drawing/2014/main" id="{CA7033C0-C199-4DC6-8202-78BBB1BB4AF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-296739" y="4255452"/>
            <a:ext cx="5079999" cy="3048000"/>
          </a:xfrm>
          <a:prstGeom prst="rect">
            <a:avLst/>
          </a:prstGeom>
        </p:spPr>
      </p:pic>
      <p:sp>
        <p:nvSpPr>
          <p:cNvPr id="21" name="Dikdörtgen 20">
            <a:extLst>
              <a:ext uri="{FF2B5EF4-FFF2-40B4-BE49-F238E27FC236}">
                <a16:creationId xmlns:a16="http://schemas.microsoft.com/office/drawing/2014/main" id="{88639337-1A47-4DFF-910E-578A47CBFCA4}"/>
              </a:ext>
            </a:extLst>
          </p:cNvPr>
          <p:cNvSpPr/>
          <p:nvPr/>
        </p:nvSpPr>
        <p:spPr>
          <a:xfrm>
            <a:off x="71120" y="5200587"/>
            <a:ext cx="1911998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tr-TR" b="1" cap="none" spc="0" dirty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aloo Paaji 2" panose="03080502040302020200"/>
              </a:rPr>
              <a:t>Less</a:t>
            </a:r>
            <a:r>
              <a:rPr lang="tr-TR" b="1" cap="none" spc="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aloo Paaji 2" panose="03080502040302020200"/>
              </a:rPr>
              <a:t> </a:t>
            </a:r>
            <a:r>
              <a:rPr lang="tr-TR" b="1" cap="none" spc="0" dirty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aloo Paaji 2" panose="03080502040302020200"/>
              </a:rPr>
              <a:t>carbon</a:t>
            </a:r>
            <a:r>
              <a:rPr lang="tr-TR" b="1" cap="none" spc="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aloo Paaji 2" panose="03080502040302020200"/>
              </a:rPr>
              <a:t>, </a:t>
            </a:r>
            <a:r>
              <a:rPr lang="tr-TR" b="1" cap="none" spc="0" dirty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aloo Paaji 2" panose="03080502040302020200"/>
              </a:rPr>
              <a:t>more</a:t>
            </a:r>
            <a:endParaRPr lang="tr-TR" b="1" cap="none" spc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Baloo Paaji 2" panose="03080502040302020200"/>
            </a:endParaRPr>
          </a:p>
        </p:txBody>
      </p:sp>
      <p:pic>
        <p:nvPicPr>
          <p:cNvPr id="20" name="Resim 19">
            <a:extLst>
              <a:ext uri="{FF2B5EF4-FFF2-40B4-BE49-F238E27FC236}">
                <a16:creationId xmlns:a16="http://schemas.microsoft.com/office/drawing/2014/main" id="{67F1308E-C811-4824-8B3F-09229B6303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031140" y="4375969"/>
            <a:ext cx="2862262" cy="2862262"/>
          </a:xfrm>
          <a:prstGeom prst="rect">
            <a:avLst/>
          </a:prstGeom>
        </p:spPr>
      </p:pic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B823092-E2E6-45BA-901C-E95F24E18623}"/>
              </a:ext>
            </a:extLst>
          </p:cNvPr>
          <p:cNvSpPr txBox="1">
            <a:spLocks/>
          </p:cNvSpPr>
          <p:nvPr/>
        </p:nvSpPr>
        <p:spPr>
          <a:xfrm>
            <a:off x="10299700" y="6483350"/>
            <a:ext cx="1892300" cy="374650"/>
          </a:xfrm>
          <a:prstGeom prst="rect">
            <a:avLst/>
          </a:prstGeom>
        </p:spPr>
        <p:txBody>
          <a:bodyPr vert="horz" lIns="91440" tIns="45720" rIns="91440" bIns="45720" rtlCol="0">
            <a:normAutofit fontScale="47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b="1" dirty="0">
                <a:solidFill>
                  <a:schemeClr val="bg1"/>
                </a:solidFill>
              </a:rPr>
              <a:t>12</a:t>
            </a:r>
            <a:r>
              <a:rPr lang="en-US" b="1" dirty="0">
                <a:solidFill>
                  <a:schemeClr val="bg1"/>
                </a:solidFill>
              </a:rPr>
              <a:t> December, 2021</a:t>
            </a:r>
          </a:p>
        </p:txBody>
      </p:sp>
      <p:pic>
        <p:nvPicPr>
          <p:cNvPr id="22" name="Resim 21" descr="oyuncak, LEGO içeren bir resim&#10;&#10;Açıklama otomatik olarak oluşturuldu">
            <a:extLst>
              <a:ext uri="{FF2B5EF4-FFF2-40B4-BE49-F238E27FC236}">
                <a16:creationId xmlns:a16="http://schemas.microsoft.com/office/drawing/2014/main" id="{BBAB57E5-6356-40C7-9A06-36BC638805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6757" y="3112340"/>
            <a:ext cx="2122303" cy="1700124"/>
          </a:xfrm>
          <a:prstGeom prst="rect">
            <a:avLst/>
          </a:prstGeom>
        </p:spPr>
      </p:pic>
      <p:pic>
        <p:nvPicPr>
          <p:cNvPr id="25" name="Resim 24">
            <a:extLst>
              <a:ext uri="{FF2B5EF4-FFF2-40B4-BE49-F238E27FC236}">
                <a16:creationId xmlns:a16="http://schemas.microsoft.com/office/drawing/2014/main" id="{8D3417BF-F124-4F6F-ACE9-C1B696031F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70564" y="755907"/>
            <a:ext cx="2862262" cy="1976437"/>
          </a:xfrm>
          <a:prstGeom prst="rect">
            <a:avLst/>
          </a:prstGeom>
        </p:spPr>
      </p:pic>
      <p:pic>
        <p:nvPicPr>
          <p:cNvPr id="26" name="Resim 25">
            <a:extLst>
              <a:ext uri="{FF2B5EF4-FFF2-40B4-BE49-F238E27FC236}">
                <a16:creationId xmlns:a16="http://schemas.microsoft.com/office/drawing/2014/main" id="{34D53C57-6EA3-45BE-8DB7-95061D4AF7F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92962" y="2974183"/>
            <a:ext cx="2862262" cy="1976437"/>
          </a:xfrm>
          <a:prstGeom prst="rect">
            <a:avLst/>
          </a:prstGeom>
        </p:spPr>
      </p:pic>
      <p:pic>
        <p:nvPicPr>
          <p:cNvPr id="27" name="Resim 26" descr="oyuncak, LEGO içeren bir resim&#10;&#10;Açıklama otomatik olarak oluşturuldu">
            <a:extLst>
              <a:ext uri="{FF2B5EF4-FFF2-40B4-BE49-F238E27FC236}">
                <a16:creationId xmlns:a16="http://schemas.microsoft.com/office/drawing/2014/main" id="{E3F22E62-9250-40DF-8750-54C7C5451A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0795" y="755907"/>
            <a:ext cx="2122303" cy="1700124"/>
          </a:xfrm>
          <a:prstGeom prst="rect">
            <a:avLst/>
          </a:prstGeom>
        </p:spPr>
      </p:pic>
      <p:pic>
        <p:nvPicPr>
          <p:cNvPr id="29" name="Resim 28" descr="metin içeren bir resim&#10;&#10;Açıklama otomatik olarak oluşturuldu">
            <a:extLst>
              <a:ext uri="{FF2B5EF4-FFF2-40B4-BE49-F238E27FC236}">
                <a16:creationId xmlns:a16="http://schemas.microsoft.com/office/drawing/2014/main" id="{6654E44B-4E97-42B4-A8EB-A17C6BD3D4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59176" y="2622046"/>
            <a:ext cx="4760941" cy="2680710"/>
          </a:xfrm>
          <a:prstGeom prst="rect">
            <a:avLst/>
          </a:prstGeom>
        </p:spPr>
      </p:pic>
      <p:pic>
        <p:nvPicPr>
          <p:cNvPr id="18" name="Resim 17" descr="van içeren bir resim&#10;&#10;Açıklama otomatik olarak oluşturuldu">
            <a:extLst>
              <a:ext uri="{FF2B5EF4-FFF2-40B4-BE49-F238E27FC236}">
                <a16:creationId xmlns:a16="http://schemas.microsoft.com/office/drawing/2014/main" id="{3E28D3C0-4838-43D8-85C6-8231366F1A5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3637888" y="4812464"/>
            <a:ext cx="3065389" cy="2670041"/>
          </a:xfrm>
          <a:prstGeom prst="rect">
            <a:avLst/>
          </a:prstGeom>
        </p:spPr>
      </p:pic>
      <p:sp>
        <p:nvSpPr>
          <p:cNvPr id="30" name="Eksi İşareti 29">
            <a:extLst>
              <a:ext uri="{FF2B5EF4-FFF2-40B4-BE49-F238E27FC236}">
                <a16:creationId xmlns:a16="http://schemas.microsoft.com/office/drawing/2014/main" id="{0AE5E1AC-9C34-49D3-8AA7-538166CB9EB0}"/>
              </a:ext>
            </a:extLst>
          </p:cNvPr>
          <p:cNvSpPr/>
          <p:nvPr/>
        </p:nvSpPr>
        <p:spPr>
          <a:xfrm rot="19879720">
            <a:off x="-4411263" y="2482594"/>
            <a:ext cx="21373753" cy="1533585"/>
          </a:xfrm>
          <a:prstGeom prst="mathMinus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Eksi İşareti 30">
            <a:extLst>
              <a:ext uri="{FF2B5EF4-FFF2-40B4-BE49-F238E27FC236}">
                <a16:creationId xmlns:a16="http://schemas.microsoft.com/office/drawing/2014/main" id="{699896C4-75E9-45DF-8F80-69250DBFB18D}"/>
              </a:ext>
            </a:extLst>
          </p:cNvPr>
          <p:cNvSpPr/>
          <p:nvPr/>
        </p:nvSpPr>
        <p:spPr>
          <a:xfrm rot="1750803">
            <a:off x="-4307218" y="2794287"/>
            <a:ext cx="21373753" cy="1533585"/>
          </a:xfrm>
          <a:prstGeom prst="mathMinus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56375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328 0.04166 L 0.24896 0.00347 L 0.34271 -0.32037 L 0.39493 -0.65116 L 0.65599 -0.23936 L 0.89974 -0.66783 L 1.01224 -0.26088 L 1.01368 0.43194 " pathEditMode="relative" ptsTypes="AAAAAAAA">
                                      <p:cBhvr>
                                        <p:cTn id="6" dur="1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0"/>
                            </p:stCondLst>
                            <p:childTnLst>
                              <p:par>
                                <p:cTn id="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6" name="Rectangle 15">
            <a:extLst>
              <a:ext uri="{FF2B5EF4-FFF2-40B4-BE49-F238E27FC236}">
                <a16:creationId xmlns:a16="http://schemas.microsoft.com/office/drawing/2014/main" id="{A8CCCB6D-5162-4AAE-A5E3-3AC55410DB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BCD8C04-CC7B-40EF-82EB-E9821F79BB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70" y="2458"/>
            <a:ext cx="12188952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Resim 3">
            <a:extLst>
              <a:ext uri="{FF2B5EF4-FFF2-40B4-BE49-F238E27FC236}">
                <a16:creationId xmlns:a16="http://schemas.microsoft.com/office/drawing/2014/main" id="{6FC8AFC8-A51F-4D64-B070-C81605B6135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 l="15376" r="15376"/>
          <a:stretch/>
        </p:blipFill>
        <p:spPr>
          <a:xfrm flipH="1">
            <a:off x="0" y="4926"/>
            <a:ext cx="8450317" cy="6857990"/>
          </a:xfrm>
          <a:prstGeom prst="rect">
            <a:avLst/>
          </a:prstGeom>
        </p:spPr>
      </p:pic>
      <p:pic>
        <p:nvPicPr>
          <p:cNvPr id="6" name="Resim 5">
            <a:extLst>
              <a:ext uri="{FF2B5EF4-FFF2-40B4-BE49-F238E27FC236}">
                <a16:creationId xmlns:a16="http://schemas.microsoft.com/office/drawing/2014/main" id="{39E09370-F5F8-4662-90AA-47B14A422D69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 l="25546" r="25546"/>
          <a:stretch/>
        </p:blipFill>
        <p:spPr>
          <a:xfrm>
            <a:off x="7761478" y="-331986"/>
            <a:ext cx="4430522" cy="6964008"/>
          </a:xfrm>
          <a:custGeom>
            <a:avLst/>
            <a:gdLst/>
            <a:ahLst/>
            <a:cxnLst/>
            <a:rect l="l" t="t" r="r" b="b"/>
            <a:pathLst>
              <a:path w="5962785" h="6858000">
                <a:moveTo>
                  <a:pt x="1044839" y="0"/>
                </a:moveTo>
                <a:lnTo>
                  <a:pt x="5962785" y="0"/>
                </a:lnTo>
                <a:lnTo>
                  <a:pt x="5962785" y="6858000"/>
                </a:lnTo>
                <a:lnTo>
                  <a:pt x="1469886" y="6858000"/>
                </a:lnTo>
                <a:lnTo>
                  <a:pt x="1416006" y="6823984"/>
                </a:lnTo>
                <a:cubicBezTo>
                  <a:pt x="1356767" y="6787940"/>
                  <a:pt x="1296437" y="6755500"/>
                  <a:pt x="1232473" y="6733873"/>
                </a:cubicBezTo>
                <a:cubicBezTo>
                  <a:pt x="1145250" y="6705037"/>
                  <a:pt x="1060933" y="6654575"/>
                  <a:pt x="1075471" y="6503186"/>
                </a:cubicBezTo>
                <a:cubicBezTo>
                  <a:pt x="1078378" y="6459932"/>
                  <a:pt x="1055118" y="6427493"/>
                  <a:pt x="1020229" y="6438306"/>
                </a:cubicBezTo>
                <a:cubicBezTo>
                  <a:pt x="953358" y="6459932"/>
                  <a:pt x="921375" y="6398656"/>
                  <a:pt x="883579" y="6351798"/>
                </a:cubicBezTo>
                <a:cubicBezTo>
                  <a:pt x="816707" y="6268895"/>
                  <a:pt x="752743" y="6182387"/>
                  <a:pt x="645167" y="6167969"/>
                </a:cubicBezTo>
                <a:cubicBezTo>
                  <a:pt x="665519" y="6103088"/>
                  <a:pt x="700408" y="6110298"/>
                  <a:pt x="732391" y="6124716"/>
                </a:cubicBezTo>
                <a:cubicBezTo>
                  <a:pt x="816707" y="6160761"/>
                  <a:pt x="901023" y="6200410"/>
                  <a:pt x="985339" y="6236455"/>
                </a:cubicBezTo>
                <a:cubicBezTo>
                  <a:pt x="1040581" y="6258081"/>
                  <a:pt x="1095822" y="6290522"/>
                  <a:pt x="1168509" y="6265291"/>
                </a:cubicBezTo>
                <a:cubicBezTo>
                  <a:pt x="1104545" y="6135530"/>
                  <a:pt x="996969" y="6110298"/>
                  <a:pt x="909746" y="6070649"/>
                </a:cubicBezTo>
                <a:cubicBezTo>
                  <a:pt x="802169" y="6020185"/>
                  <a:pt x="738206" y="5926470"/>
                  <a:pt x="659704" y="5818335"/>
                </a:cubicBezTo>
                <a:cubicBezTo>
                  <a:pt x="738206" y="5789500"/>
                  <a:pt x="787632" y="5868798"/>
                  <a:pt x="851597" y="5865193"/>
                </a:cubicBezTo>
                <a:cubicBezTo>
                  <a:pt x="854504" y="5854380"/>
                  <a:pt x="860319" y="5832753"/>
                  <a:pt x="860319" y="5832753"/>
                </a:cubicBezTo>
                <a:cubicBezTo>
                  <a:pt x="755650" y="5775081"/>
                  <a:pt x="709132" y="5666947"/>
                  <a:pt x="691686" y="5533581"/>
                </a:cubicBezTo>
                <a:cubicBezTo>
                  <a:pt x="685872" y="5465095"/>
                  <a:pt x="648075" y="5443468"/>
                  <a:pt x="610278" y="5411029"/>
                </a:cubicBezTo>
                <a:cubicBezTo>
                  <a:pt x="482350" y="5299289"/>
                  <a:pt x="345700" y="5198364"/>
                  <a:pt x="238123" y="5046976"/>
                </a:cubicBezTo>
                <a:cubicBezTo>
                  <a:pt x="363144" y="5064998"/>
                  <a:pt x="461997" y="5165924"/>
                  <a:pt x="592833" y="5209177"/>
                </a:cubicBezTo>
                <a:cubicBezTo>
                  <a:pt x="488165" y="5043371"/>
                  <a:pt x="351514" y="4956864"/>
                  <a:pt x="226494" y="4855939"/>
                </a:cubicBezTo>
                <a:cubicBezTo>
                  <a:pt x="168344" y="4809081"/>
                  <a:pt x="116011" y="4751408"/>
                  <a:pt x="49139" y="4726177"/>
                </a:cubicBezTo>
                <a:cubicBezTo>
                  <a:pt x="25879" y="4718968"/>
                  <a:pt x="-14825" y="4700947"/>
                  <a:pt x="5527" y="4650483"/>
                </a:cubicBezTo>
                <a:cubicBezTo>
                  <a:pt x="22972" y="4607230"/>
                  <a:pt x="54954" y="4621648"/>
                  <a:pt x="84029" y="4632460"/>
                </a:cubicBezTo>
                <a:cubicBezTo>
                  <a:pt x="153807" y="4661296"/>
                  <a:pt x="229401" y="4661296"/>
                  <a:pt x="325347" y="4661296"/>
                </a:cubicBezTo>
                <a:cubicBezTo>
                  <a:pt x="243939" y="4524326"/>
                  <a:pt x="95658" y="4567580"/>
                  <a:pt x="25879" y="4423401"/>
                </a:cubicBezTo>
                <a:cubicBezTo>
                  <a:pt x="113103" y="4398170"/>
                  <a:pt x="179975" y="4448632"/>
                  <a:pt x="249753" y="4459446"/>
                </a:cubicBezTo>
                <a:cubicBezTo>
                  <a:pt x="313718" y="4470259"/>
                  <a:pt x="328254" y="4445028"/>
                  <a:pt x="313718" y="4365729"/>
                </a:cubicBezTo>
                <a:cubicBezTo>
                  <a:pt x="290458" y="4243177"/>
                  <a:pt x="325347" y="4181900"/>
                  <a:pt x="418386" y="4214341"/>
                </a:cubicBezTo>
                <a:cubicBezTo>
                  <a:pt x="505609" y="4246781"/>
                  <a:pt x="514332" y="4199922"/>
                  <a:pt x="491072" y="4131438"/>
                </a:cubicBezTo>
                <a:cubicBezTo>
                  <a:pt x="456183" y="4030512"/>
                  <a:pt x="493979" y="3951214"/>
                  <a:pt x="520147" y="3864706"/>
                </a:cubicBezTo>
                <a:cubicBezTo>
                  <a:pt x="560851" y="3734945"/>
                  <a:pt x="543407" y="3670064"/>
                  <a:pt x="459090" y="3572743"/>
                </a:cubicBezTo>
                <a:cubicBezTo>
                  <a:pt x="409664" y="3518676"/>
                  <a:pt x="360236" y="3471818"/>
                  <a:pt x="290458" y="3424959"/>
                </a:cubicBezTo>
                <a:cubicBezTo>
                  <a:pt x="450368" y="3399728"/>
                  <a:pt x="284643" y="3313221"/>
                  <a:pt x="339884" y="3259153"/>
                </a:cubicBezTo>
                <a:cubicBezTo>
                  <a:pt x="453275" y="3237527"/>
                  <a:pt x="543407" y="3410542"/>
                  <a:pt x="697501" y="3360078"/>
                </a:cubicBezTo>
                <a:cubicBezTo>
                  <a:pt x="511425" y="3212294"/>
                  <a:pt x="302087" y="3165436"/>
                  <a:pt x="165437" y="2967190"/>
                </a:cubicBezTo>
                <a:cubicBezTo>
                  <a:pt x="197419" y="2923937"/>
                  <a:pt x="229401" y="2967190"/>
                  <a:pt x="255568" y="2949167"/>
                </a:cubicBezTo>
                <a:cubicBezTo>
                  <a:pt x="255568" y="2938354"/>
                  <a:pt x="560851" y="3006840"/>
                  <a:pt x="578296" y="2725691"/>
                </a:cubicBezTo>
                <a:cubicBezTo>
                  <a:pt x="584111" y="2725691"/>
                  <a:pt x="589926" y="2725691"/>
                  <a:pt x="595740" y="2714876"/>
                </a:cubicBezTo>
                <a:cubicBezTo>
                  <a:pt x="627722" y="2675228"/>
                  <a:pt x="598648" y="2581510"/>
                  <a:pt x="650982" y="2574301"/>
                </a:cubicBezTo>
                <a:cubicBezTo>
                  <a:pt x="709132" y="2567092"/>
                  <a:pt x="764373" y="2534653"/>
                  <a:pt x="825429" y="2552674"/>
                </a:cubicBezTo>
                <a:cubicBezTo>
                  <a:pt x="871949" y="2567092"/>
                  <a:pt x="921375" y="2585115"/>
                  <a:pt x="970802" y="2585115"/>
                </a:cubicBezTo>
                <a:cubicBezTo>
                  <a:pt x="1023136" y="2585115"/>
                  <a:pt x="1095822" y="2707668"/>
                  <a:pt x="1127805" y="2545465"/>
                </a:cubicBezTo>
                <a:cubicBezTo>
                  <a:pt x="1127805" y="2538257"/>
                  <a:pt x="1217936" y="2556280"/>
                  <a:pt x="1267362" y="2563488"/>
                </a:cubicBezTo>
                <a:cubicBezTo>
                  <a:pt x="1308067" y="2570698"/>
                  <a:pt x="1357494" y="2603137"/>
                  <a:pt x="1386568" y="2538257"/>
                </a:cubicBezTo>
                <a:cubicBezTo>
                  <a:pt x="1401105" y="2498607"/>
                  <a:pt x="1331326" y="2426518"/>
                  <a:pt x="1270270" y="2419309"/>
                </a:cubicBezTo>
                <a:cubicBezTo>
                  <a:pt x="1215029" y="2412101"/>
                  <a:pt x="1159787" y="2404892"/>
                  <a:pt x="1107453" y="2419309"/>
                </a:cubicBezTo>
                <a:cubicBezTo>
                  <a:pt x="1043489" y="2437331"/>
                  <a:pt x="1008599" y="2408495"/>
                  <a:pt x="991154" y="2343615"/>
                </a:cubicBezTo>
                <a:cubicBezTo>
                  <a:pt x="970802" y="2275131"/>
                  <a:pt x="933005" y="2239085"/>
                  <a:pt x="880671" y="2206645"/>
                </a:cubicBezTo>
                <a:cubicBezTo>
                  <a:pt x="752743" y="2127346"/>
                  <a:pt x="630630" y="2033629"/>
                  <a:pt x="491072" y="1986771"/>
                </a:cubicBezTo>
                <a:cubicBezTo>
                  <a:pt x="464905" y="1979562"/>
                  <a:pt x="432923" y="1965145"/>
                  <a:pt x="421293" y="1903868"/>
                </a:cubicBezTo>
                <a:cubicBezTo>
                  <a:pt x="799262" y="1997584"/>
                  <a:pt x="1142342" y="2239085"/>
                  <a:pt x="1531941" y="2224667"/>
                </a:cubicBezTo>
                <a:cubicBezTo>
                  <a:pt x="1427272" y="2148974"/>
                  <a:pt x="1302252" y="2145369"/>
                  <a:pt x="1188861" y="2091301"/>
                </a:cubicBezTo>
                <a:cubicBezTo>
                  <a:pt x="1270270" y="2051652"/>
                  <a:pt x="1345864" y="2094906"/>
                  <a:pt x="1421458" y="2116532"/>
                </a:cubicBezTo>
                <a:cubicBezTo>
                  <a:pt x="1485422" y="2134554"/>
                  <a:pt x="1543571" y="2138160"/>
                  <a:pt x="1549386" y="2026420"/>
                </a:cubicBezTo>
                <a:cubicBezTo>
                  <a:pt x="1549386" y="2015607"/>
                  <a:pt x="1549386" y="2008398"/>
                  <a:pt x="1549386" y="1997584"/>
                </a:cubicBezTo>
                <a:cubicBezTo>
                  <a:pt x="1526126" y="1950727"/>
                  <a:pt x="1494144" y="1929099"/>
                  <a:pt x="1453440" y="1914682"/>
                </a:cubicBezTo>
                <a:cubicBezTo>
                  <a:pt x="1430180" y="1907473"/>
                  <a:pt x="1398198" y="1893056"/>
                  <a:pt x="1398198" y="1860614"/>
                </a:cubicBezTo>
                <a:cubicBezTo>
                  <a:pt x="1401105" y="1738063"/>
                  <a:pt x="1322604" y="1702018"/>
                  <a:pt x="1247011" y="1665972"/>
                </a:cubicBezTo>
                <a:cubicBezTo>
                  <a:pt x="1287715" y="1604696"/>
                  <a:pt x="1322604" y="1647950"/>
                  <a:pt x="1354586" y="1644345"/>
                </a:cubicBezTo>
                <a:cubicBezTo>
                  <a:pt x="1374939" y="1640741"/>
                  <a:pt x="1395290" y="1637138"/>
                  <a:pt x="1395290" y="1604696"/>
                </a:cubicBezTo>
                <a:cubicBezTo>
                  <a:pt x="1395290" y="1579465"/>
                  <a:pt x="1386568" y="1547025"/>
                  <a:pt x="1366216" y="1547025"/>
                </a:cubicBezTo>
                <a:cubicBezTo>
                  <a:pt x="1238288" y="1543420"/>
                  <a:pt x="1165601" y="1370405"/>
                  <a:pt x="1031858" y="1370405"/>
                </a:cubicBezTo>
                <a:cubicBezTo>
                  <a:pt x="950450" y="1370405"/>
                  <a:pt x="1072563" y="1273083"/>
                  <a:pt x="1005692" y="1233435"/>
                </a:cubicBezTo>
                <a:cubicBezTo>
                  <a:pt x="991154" y="1222621"/>
                  <a:pt x="1046396" y="1208203"/>
                  <a:pt x="1069655" y="1211808"/>
                </a:cubicBezTo>
                <a:cubicBezTo>
                  <a:pt x="1092915" y="1215412"/>
                  <a:pt x="1113268" y="1240644"/>
                  <a:pt x="1142342" y="1222621"/>
                </a:cubicBezTo>
                <a:cubicBezTo>
                  <a:pt x="1156879" y="1157741"/>
                  <a:pt x="1119082" y="1132510"/>
                  <a:pt x="1084193" y="1114487"/>
                </a:cubicBezTo>
                <a:cubicBezTo>
                  <a:pt x="1008599" y="1071234"/>
                  <a:pt x="933005" y="1020771"/>
                  <a:pt x="848689" y="1006353"/>
                </a:cubicBezTo>
                <a:cubicBezTo>
                  <a:pt x="819615" y="1002748"/>
                  <a:pt x="802169" y="984726"/>
                  <a:pt x="805077" y="948681"/>
                </a:cubicBezTo>
                <a:cubicBezTo>
                  <a:pt x="810892" y="901822"/>
                  <a:pt x="839967" y="916240"/>
                  <a:pt x="863226" y="919844"/>
                </a:cubicBezTo>
                <a:cubicBezTo>
                  <a:pt x="877764" y="923450"/>
                  <a:pt x="892301" y="934263"/>
                  <a:pt x="906838" y="909031"/>
                </a:cubicBezTo>
                <a:cubicBezTo>
                  <a:pt x="566666" y="653113"/>
                  <a:pt x="386404" y="667532"/>
                  <a:pt x="5527" y="458471"/>
                </a:cubicBezTo>
                <a:cubicBezTo>
                  <a:pt x="89843" y="418822"/>
                  <a:pt x="150900" y="447658"/>
                  <a:pt x="209049" y="454867"/>
                </a:cubicBezTo>
                <a:cubicBezTo>
                  <a:pt x="354422" y="472890"/>
                  <a:pt x="264290" y="505329"/>
                  <a:pt x="409664" y="526956"/>
                </a:cubicBezTo>
                <a:cubicBezTo>
                  <a:pt x="479443" y="537770"/>
                  <a:pt x="543407" y="573815"/>
                  <a:pt x="621908" y="516143"/>
                </a:cubicBezTo>
                <a:cubicBezTo>
                  <a:pt x="674242" y="476494"/>
                  <a:pt x="758558" y="519747"/>
                  <a:pt x="822522" y="552188"/>
                </a:cubicBezTo>
                <a:cubicBezTo>
                  <a:pt x="874856" y="581024"/>
                  <a:pt x="927190" y="588232"/>
                  <a:pt x="996969" y="552188"/>
                </a:cubicBezTo>
                <a:cubicBezTo>
                  <a:pt x="933005" y="530562"/>
                  <a:pt x="883579" y="512539"/>
                  <a:pt x="834151" y="498120"/>
                </a:cubicBezTo>
                <a:cubicBezTo>
                  <a:pt x="793447" y="487307"/>
                  <a:pt x="770187" y="462076"/>
                  <a:pt x="773095" y="408008"/>
                </a:cubicBezTo>
                <a:cubicBezTo>
                  <a:pt x="773095" y="379172"/>
                  <a:pt x="764373" y="339523"/>
                  <a:pt x="793447" y="325106"/>
                </a:cubicBezTo>
                <a:cubicBezTo>
                  <a:pt x="816707" y="310688"/>
                  <a:pt x="848689" y="325106"/>
                  <a:pt x="860319" y="350336"/>
                </a:cubicBezTo>
                <a:cubicBezTo>
                  <a:pt x="874856" y="397195"/>
                  <a:pt x="889393" y="440449"/>
                  <a:pt x="938820" y="444054"/>
                </a:cubicBezTo>
                <a:cubicBezTo>
                  <a:pt x="1005692" y="451262"/>
                  <a:pt x="967894" y="422426"/>
                  <a:pt x="956265" y="386381"/>
                </a:cubicBezTo>
                <a:cubicBezTo>
                  <a:pt x="944635" y="346733"/>
                  <a:pt x="979525" y="335919"/>
                  <a:pt x="1002784" y="343127"/>
                </a:cubicBezTo>
                <a:cubicBezTo>
                  <a:pt x="1090008" y="375569"/>
                  <a:pt x="1180139" y="317897"/>
                  <a:pt x="1270270" y="364755"/>
                </a:cubicBezTo>
                <a:cubicBezTo>
                  <a:pt x="1247011" y="249411"/>
                  <a:pt x="1197583" y="198949"/>
                  <a:pt x="1092915" y="180926"/>
                </a:cubicBezTo>
                <a:cubicBezTo>
                  <a:pt x="1055118" y="177322"/>
                  <a:pt x="1014414" y="184530"/>
                  <a:pt x="979525" y="152090"/>
                </a:cubicBezTo>
                <a:cubicBezTo>
                  <a:pt x="959172" y="134068"/>
                  <a:pt x="938820" y="112441"/>
                  <a:pt x="953358" y="76396"/>
                </a:cubicBezTo>
                <a:cubicBezTo>
                  <a:pt x="962080" y="51165"/>
                  <a:pt x="985339" y="51165"/>
                  <a:pt x="1005692" y="58373"/>
                </a:cubicBezTo>
                <a:cubicBezTo>
                  <a:pt x="1090008" y="98023"/>
                  <a:pt x="1180139" y="108837"/>
                  <a:pt x="1267362" y="123254"/>
                </a:cubicBezTo>
                <a:cubicBezTo>
                  <a:pt x="1281900" y="126859"/>
                  <a:pt x="1296437" y="134068"/>
                  <a:pt x="1310975" y="98023"/>
                </a:cubicBezTo>
                <a:cubicBezTo>
                  <a:pt x="1260095" y="81803"/>
                  <a:pt x="1209941" y="62879"/>
                  <a:pt x="1159787" y="43505"/>
                </a:cubicBezTo>
                <a:close/>
              </a:path>
            </a:pathLst>
          </a:custGeom>
        </p:spPr>
      </p:pic>
      <p:sp>
        <p:nvSpPr>
          <p:cNvPr id="12" name="Metin kutusu 11">
            <a:extLst>
              <a:ext uri="{FF2B5EF4-FFF2-40B4-BE49-F238E27FC236}">
                <a16:creationId xmlns:a16="http://schemas.microsoft.com/office/drawing/2014/main" id="{0BE8E2CA-23E5-4E38-AC66-5E5A0076E22C}"/>
              </a:ext>
            </a:extLst>
          </p:cNvPr>
          <p:cNvSpPr txBox="1"/>
          <p:nvPr/>
        </p:nvSpPr>
        <p:spPr>
          <a:xfrm>
            <a:off x="185520" y="231222"/>
            <a:ext cx="6739467" cy="7217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tr-TR" sz="4000" b="1" dirty="0" err="1">
                <a:solidFill>
                  <a:schemeClr val="bg1"/>
                </a:solidFill>
                <a:latin typeface="Baloo Paaji 2" panose="03080502040302020200" pitchFamily="66" charset="-94"/>
                <a:ea typeface="Calibri" panose="020F0502020204030204" pitchFamily="34" charset="0"/>
                <a:cs typeface="Baloo Paaji 2" panose="03080502040302020200" pitchFamily="66" charset="-94"/>
              </a:rPr>
              <a:t>We</a:t>
            </a:r>
            <a:r>
              <a:rPr lang="tr-TR" sz="4000" b="1" dirty="0">
                <a:solidFill>
                  <a:schemeClr val="bg1"/>
                </a:solidFill>
                <a:latin typeface="Baloo Paaji 2" panose="03080502040302020200" pitchFamily="66" charset="-94"/>
                <a:ea typeface="Calibri" panose="020F0502020204030204" pitchFamily="34" charset="0"/>
                <a:cs typeface="Baloo Paaji 2" panose="03080502040302020200" pitchFamily="66" charset="-94"/>
              </a:rPr>
              <a:t> </a:t>
            </a:r>
            <a:r>
              <a:rPr lang="tr-TR" sz="4000" b="1" dirty="0" err="1">
                <a:solidFill>
                  <a:schemeClr val="bg1"/>
                </a:solidFill>
                <a:latin typeface="Baloo Paaji 2" panose="03080502040302020200" pitchFamily="66" charset="-94"/>
                <a:ea typeface="Calibri" panose="020F0502020204030204" pitchFamily="34" charset="0"/>
                <a:cs typeface="Baloo Paaji 2" panose="03080502040302020200" pitchFamily="66" charset="-94"/>
              </a:rPr>
              <a:t>thought</a:t>
            </a:r>
            <a:r>
              <a:rPr lang="tr-TR" sz="4000" b="1" dirty="0">
                <a:solidFill>
                  <a:schemeClr val="bg1"/>
                </a:solidFill>
                <a:latin typeface="Baloo Paaji 2" panose="03080502040302020200" pitchFamily="66" charset="-94"/>
                <a:ea typeface="Calibri" panose="020F0502020204030204" pitchFamily="34" charset="0"/>
                <a:cs typeface="Baloo Paaji 2" panose="03080502040302020200" pitchFamily="66" charset="-94"/>
              </a:rPr>
              <a:t> !</a:t>
            </a:r>
            <a:endParaRPr lang="en-US" sz="5400" b="1" dirty="0">
              <a:solidFill>
                <a:schemeClr val="bg1"/>
              </a:solidFill>
              <a:effectLst/>
              <a:latin typeface="Baloo Paaji 2" panose="03080502040302020200" pitchFamily="66" charset="-94"/>
              <a:ea typeface="Calibri" panose="020F0502020204030204" pitchFamily="34" charset="0"/>
              <a:cs typeface="Baloo Paaji 2" panose="03080502040302020200" pitchFamily="66" charset="-94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956012F-B36A-4910-A6CB-D0D71F3D0EAE}"/>
              </a:ext>
            </a:extLst>
          </p:cNvPr>
          <p:cNvSpPr txBox="1">
            <a:spLocks/>
          </p:cNvSpPr>
          <p:nvPr/>
        </p:nvSpPr>
        <p:spPr>
          <a:xfrm>
            <a:off x="10299700" y="6483350"/>
            <a:ext cx="1892300" cy="374650"/>
          </a:xfrm>
          <a:prstGeom prst="rect">
            <a:avLst/>
          </a:prstGeom>
        </p:spPr>
        <p:txBody>
          <a:bodyPr vert="horz" lIns="91440" tIns="45720" rIns="91440" bIns="45720" rtlCol="0">
            <a:normAutofit fontScale="47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b="1">
                <a:solidFill>
                  <a:schemeClr val="bg1"/>
                </a:solidFill>
              </a:rPr>
              <a:t>12</a:t>
            </a:r>
            <a:r>
              <a:rPr lang="en-US" b="1">
                <a:solidFill>
                  <a:schemeClr val="bg1"/>
                </a:solidFill>
              </a:rPr>
              <a:t> December, 2021</a:t>
            </a:r>
            <a:endParaRPr lang="en-US" b="1" dirty="0">
              <a:solidFill>
                <a:schemeClr val="bg1"/>
              </a:solidFill>
            </a:endParaRPr>
          </a:p>
        </p:txBody>
      </p:sp>
      <p:pic>
        <p:nvPicPr>
          <p:cNvPr id="19" name="Resim 18">
            <a:extLst>
              <a:ext uri="{FF2B5EF4-FFF2-40B4-BE49-F238E27FC236}">
                <a16:creationId xmlns:a16="http://schemas.microsoft.com/office/drawing/2014/main" id="{8BDAC2D4-74FA-41A3-8BDE-440253DC125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-296739" y="4255452"/>
            <a:ext cx="5079999" cy="3048000"/>
          </a:xfrm>
          <a:prstGeom prst="rect">
            <a:avLst/>
          </a:prstGeom>
        </p:spPr>
      </p:pic>
      <p:sp>
        <p:nvSpPr>
          <p:cNvPr id="20" name="Dikdörtgen 19">
            <a:extLst>
              <a:ext uri="{FF2B5EF4-FFF2-40B4-BE49-F238E27FC236}">
                <a16:creationId xmlns:a16="http://schemas.microsoft.com/office/drawing/2014/main" id="{5403AE6B-04AC-4F0E-93C5-6C6DFEE10E4A}"/>
              </a:ext>
            </a:extLst>
          </p:cNvPr>
          <p:cNvSpPr/>
          <p:nvPr/>
        </p:nvSpPr>
        <p:spPr>
          <a:xfrm>
            <a:off x="71120" y="5200587"/>
            <a:ext cx="1911998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tr-TR" b="1" cap="none" spc="0" dirty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aloo Paaji 2" panose="03080502040302020200"/>
              </a:rPr>
              <a:t>Less</a:t>
            </a:r>
            <a:r>
              <a:rPr lang="tr-TR" b="1" cap="none" spc="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aloo Paaji 2" panose="03080502040302020200"/>
              </a:rPr>
              <a:t> </a:t>
            </a:r>
            <a:r>
              <a:rPr lang="tr-TR" b="1" cap="none" spc="0" dirty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aloo Paaji 2" panose="03080502040302020200"/>
              </a:rPr>
              <a:t>carbon</a:t>
            </a:r>
            <a:r>
              <a:rPr lang="tr-TR" b="1" cap="none" spc="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aloo Paaji 2" panose="03080502040302020200"/>
              </a:rPr>
              <a:t>, </a:t>
            </a:r>
            <a:r>
              <a:rPr lang="tr-TR" b="1" cap="none" spc="0" dirty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aloo Paaji 2" panose="03080502040302020200"/>
              </a:rPr>
              <a:t>more</a:t>
            </a:r>
            <a:endParaRPr lang="tr-TR" b="1" cap="none" spc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Baloo Paaji 2" panose="03080502040302020200"/>
            </a:endParaRPr>
          </a:p>
        </p:txBody>
      </p:sp>
    </p:spTree>
    <p:extLst>
      <p:ext uri="{BB962C8B-B14F-4D97-AF65-F5344CB8AC3E}">
        <p14:creationId xmlns:p14="http://schemas.microsoft.com/office/powerpoint/2010/main" val="2639485171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Resim 3" descr="araba, ulaşım içeren bir resim&#10;&#10;Açıklama otomatik olarak oluşturuldu">
            <a:extLst>
              <a:ext uri="{FF2B5EF4-FFF2-40B4-BE49-F238E27FC236}">
                <a16:creationId xmlns:a16="http://schemas.microsoft.com/office/drawing/2014/main" id="{64612EFA-6BCE-46D7-840B-5EE5E9DBDC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10665"/>
            <a:ext cx="3624770" cy="2035531"/>
          </a:xfrm>
          <a:prstGeom prst="rect">
            <a:avLst/>
          </a:prstGeom>
        </p:spPr>
      </p:pic>
      <p:sp>
        <p:nvSpPr>
          <p:cNvPr id="6" name="Metin kutusu 5">
            <a:extLst>
              <a:ext uri="{FF2B5EF4-FFF2-40B4-BE49-F238E27FC236}">
                <a16:creationId xmlns:a16="http://schemas.microsoft.com/office/drawing/2014/main" id="{2BF5AB03-B00B-4CA8-B6E0-DBA8229D744B}"/>
              </a:ext>
            </a:extLst>
          </p:cNvPr>
          <p:cNvSpPr txBox="1"/>
          <p:nvPr/>
        </p:nvSpPr>
        <p:spPr>
          <a:xfrm>
            <a:off x="3697814" y="2178476"/>
            <a:ext cx="738184" cy="14770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tr-TR" sz="8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+</a:t>
            </a:r>
            <a:endParaRPr lang="en-US" sz="8000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Resim 7" descr="kutu içeren bir resim&#10;&#10;Açıklama otomatik olarak oluşturuldu">
            <a:extLst>
              <a:ext uri="{FF2B5EF4-FFF2-40B4-BE49-F238E27FC236}">
                <a16:creationId xmlns:a16="http://schemas.microsoft.com/office/drawing/2014/main" id="{833F1054-F8F9-41FB-9B1E-8D69DF60CD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7615" y="2002098"/>
            <a:ext cx="1603971" cy="1544098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90D05E7F-0FEC-4214-80A5-296FCE6F33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863005" y="1863090"/>
            <a:ext cx="3852268" cy="2107845"/>
          </a:xfrm>
          <a:prstGeom prst="rect">
            <a:avLst/>
          </a:prstGeom>
        </p:spPr>
      </p:pic>
      <p:sp>
        <p:nvSpPr>
          <p:cNvPr id="13" name="Metin kutusu 12">
            <a:extLst>
              <a:ext uri="{FF2B5EF4-FFF2-40B4-BE49-F238E27FC236}">
                <a16:creationId xmlns:a16="http://schemas.microsoft.com/office/drawing/2014/main" id="{49751E8D-A784-48FA-B1E3-CF94F98346D3}"/>
              </a:ext>
            </a:extLst>
          </p:cNvPr>
          <p:cNvSpPr txBox="1"/>
          <p:nvPr/>
        </p:nvSpPr>
        <p:spPr>
          <a:xfrm>
            <a:off x="6763203" y="2178476"/>
            <a:ext cx="738184" cy="14770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tr-TR" sz="8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+</a:t>
            </a:r>
            <a:endParaRPr lang="en-US" sz="8000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Placeholder 1">
            <a:extLst>
              <a:ext uri="{FF2B5EF4-FFF2-40B4-BE49-F238E27FC236}">
                <a16:creationId xmlns:a16="http://schemas.microsoft.com/office/drawing/2014/main" id="{CBBB74F8-FA41-41AF-B878-A80364CD5CA8}"/>
              </a:ext>
            </a:extLst>
          </p:cNvPr>
          <p:cNvSpPr txBox="1">
            <a:spLocks/>
          </p:cNvSpPr>
          <p:nvPr/>
        </p:nvSpPr>
        <p:spPr>
          <a:xfrm>
            <a:off x="303155" y="1229368"/>
            <a:ext cx="3144308" cy="6337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tr-TR" b="1" dirty="0" err="1">
                <a:solidFill>
                  <a:schemeClr val="bg1"/>
                </a:solidFill>
                <a:latin typeface="Baloo Paaji 2" panose="03080502040302020200" pitchFamily="66" charset="-94"/>
                <a:cs typeface="Baloo Paaji 2" panose="03080502040302020200" pitchFamily="66" charset="-94"/>
              </a:rPr>
              <a:t>Electric</a:t>
            </a:r>
            <a:r>
              <a:rPr lang="tr-TR" b="1" dirty="0">
                <a:solidFill>
                  <a:schemeClr val="bg1"/>
                </a:solidFill>
                <a:latin typeface="Baloo Paaji 2" panose="03080502040302020200" pitchFamily="66" charset="-94"/>
                <a:cs typeface="Baloo Paaji 2" panose="03080502040302020200" pitchFamily="66" charset="-94"/>
              </a:rPr>
              <a:t> </a:t>
            </a:r>
            <a:r>
              <a:rPr lang="tr-TR" b="1" dirty="0" err="1">
                <a:solidFill>
                  <a:schemeClr val="bg1"/>
                </a:solidFill>
                <a:latin typeface="Baloo Paaji 2" panose="03080502040302020200" pitchFamily="66" charset="-94"/>
                <a:cs typeface="Baloo Paaji 2" panose="03080502040302020200" pitchFamily="66" charset="-94"/>
              </a:rPr>
              <a:t>Vehicle</a:t>
            </a:r>
            <a:endParaRPr lang="en-US" b="1" dirty="0">
              <a:solidFill>
                <a:schemeClr val="bg1"/>
              </a:solidFill>
              <a:latin typeface="Baloo Paaji 2" panose="03080502040302020200" pitchFamily="66" charset="-94"/>
              <a:cs typeface="Baloo Paaji 2" panose="03080502040302020200" pitchFamily="66" charset="-94"/>
            </a:endParaRPr>
          </a:p>
        </p:txBody>
      </p:sp>
      <p:sp>
        <p:nvSpPr>
          <p:cNvPr id="15" name="Text Placeholder 1">
            <a:extLst>
              <a:ext uri="{FF2B5EF4-FFF2-40B4-BE49-F238E27FC236}">
                <a16:creationId xmlns:a16="http://schemas.microsoft.com/office/drawing/2014/main" id="{03321EBD-86CD-4465-9B18-E4F104A447A4}"/>
              </a:ext>
            </a:extLst>
          </p:cNvPr>
          <p:cNvSpPr txBox="1">
            <a:spLocks/>
          </p:cNvSpPr>
          <p:nvPr/>
        </p:nvSpPr>
        <p:spPr>
          <a:xfrm>
            <a:off x="4027446" y="1229368"/>
            <a:ext cx="3144308" cy="6337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tr-TR" b="1" dirty="0" err="1">
                <a:solidFill>
                  <a:schemeClr val="bg1"/>
                </a:solidFill>
                <a:latin typeface="Baloo Paaji 2" panose="03080502040302020200" pitchFamily="66" charset="-94"/>
                <a:cs typeface="Baloo Paaji 2" panose="03080502040302020200" pitchFamily="66" charset="-94"/>
              </a:rPr>
              <a:t>Cargoes</a:t>
            </a:r>
            <a:endParaRPr lang="en-US" b="1" dirty="0">
              <a:solidFill>
                <a:schemeClr val="bg1"/>
              </a:solidFill>
              <a:latin typeface="Baloo Paaji 2" panose="03080502040302020200" pitchFamily="66" charset="-94"/>
              <a:cs typeface="Baloo Paaji 2" panose="03080502040302020200" pitchFamily="66" charset="-94"/>
            </a:endParaRPr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E1FF0965-A6B5-46A6-B8D0-28A332CC49B6}"/>
              </a:ext>
            </a:extLst>
          </p:cNvPr>
          <p:cNvSpPr txBox="1">
            <a:spLocks/>
          </p:cNvSpPr>
          <p:nvPr/>
        </p:nvSpPr>
        <p:spPr>
          <a:xfrm>
            <a:off x="7929045" y="1229368"/>
            <a:ext cx="3144308" cy="633721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tr-TR" b="1" dirty="0">
                <a:solidFill>
                  <a:schemeClr val="bg1"/>
                </a:solidFill>
                <a:latin typeface="Baloo Paaji 2" panose="03080502040302020200" pitchFamily="66" charset="-94"/>
                <a:cs typeface="Baloo Paaji 2" panose="03080502040302020200" pitchFamily="66" charset="-94"/>
              </a:rPr>
              <a:t>Distribution Network</a:t>
            </a:r>
            <a:endParaRPr lang="en-US" b="1" dirty="0">
              <a:solidFill>
                <a:schemeClr val="bg1"/>
              </a:solidFill>
              <a:latin typeface="Baloo Paaji 2" panose="03080502040302020200" pitchFamily="66" charset="-94"/>
              <a:cs typeface="Baloo Paaji 2" panose="03080502040302020200" pitchFamily="66" charset="-94"/>
            </a:endParaRPr>
          </a:p>
        </p:txBody>
      </p:sp>
      <p:sp>
        <p:nvSpPr>
          <p:cNvPr id="20" name="Metin kutusu 19">
            <a:extLst>
              <a:ext uri="{FF2B5EF4-FFF2-40B4-BE49-F238E27FC236}">
                <a16:creationId xmlns:a16="http://schemas.microsoft.com/office/drawing/2014/main" id="{9EEC3444-AFE8-470F-8610-13BC99C8FDA5}"/>
              </a:ext>
            </a:extLst>
          </p:cNvPr>
          <p:cNvSpPr txBox="1"/>
          <p:nvPr/>
        </p:nvSpPr>
        <p:spPr>
          <a:xfrm>
            <a:off x="1371601" y="4082888"/>
            <a:ext cx="1611496" cy="8476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tr-TR" sz="4800" b="1" dirty="0">
                <a:solidFill>
                  <a:schemeClr val="bg1"/>
                </a:solidFill>
                <a:latin typeface="Baloo Paaji 2" panose="03080502040302020200" pitchFamily="66" charset="-94"/>
                <a:ea typeface="Calibri" panose="020F0502020204030204" pitchFamily="34" charset="0"/>
                <a:cs typeface="Baloo Paaji 2" panose="03080502040302020200" pitchFamily="66" charset="-94"/>
              </a:rPr>
              <a:t>       A</a:t>
            </a:r>
            <a:endParaRPr lang="en-US" sz="4800" b="1" dirty="0">
              <a:solidFill>
                <a:schemeClr val="bg1"/>
              </a:solidFill>
              <a:effectLst/>
              <a:latin typeface="Baloo Paaji 2" panose="03080502040302020200" pitchFamily="66" charset="-94"/>
              <a:ea typeface="Calibri" panose="020F0502020204030204" pitchFamily="34" charset="0"/>
              <a:cs typeface="Baloo Paaji 2" panose="03080502040302020200" pitchFamily="66" charset="-94"/>
            </a:endParaRPr>
          </a:p>
        </p:txBody>
      </p:sp>
      <p:sp>
        <p:nvSpPr>
          <p:cNvPr id="21" name="Metin kutusu 20">
            <a:extLst>
              <a:ext uri="{FF2B5EF4-FFF2-40B4-BE49-F238E27FC236}">
                <a16:creationId xmlns:a16="http://schemas.microsoft.com/office/drawing/2014/main" id="{511CA5A1-812B-4B62-9C18-2304C0F19567}"/>
              </a:ext>
            </a:extLst>
          </p:cNvPr>
          <p:cNvSpPr txBox="1"/>
          <p:nvPr/>
        </p:nvSpPr>
        <p:spPr>
          <a:xfrm>
            <a:off x="8218442" y="4082888"/>
            <a:ext cx="934611" cy="8476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tr-TR" sz="4800" b="1" dirty="0">
                <a:solidFill>
                  <a:schemeClr val="bg1"/>
                </a:solidFill>
                <a:effectLst/>
                <a:latin typeface="Baloo Paaji 2" panose="03080502040302020200" pitchFamily="66" charset="-94"/>
                <a:ea typeface="Calibri" panose="020F0502020204030204" pitchFamily="34" charset="0"/>
                <a:cs typeface="Baloo Paaji 2" panose="03080502040302020200" pitchFamily="66" charset="-94"/>
              </a:rPr>
              <a:t> B</a:t>
            </a:r>
            <a:endParaRPr lang="en-US" sz="4800" b="1" dirty="0">
              <a:solidFill>
                <a:schemeClr val="bg1"/>
              </a:solidFill>
              <a:effectLst/>
              <a:latin typeface="Baloo Paaji 2" panose="03080502040302020200" pitchFamily="66" charset="-94"/>
              <a:ea typeface="Calibri" panose="020F0502020204030204" pitchFamily="34" charset="0"/>
              <a:cs typeface="Baloo Paaji 2" panose="03080502040302020200" pitchFamily="66" charset="-94"/>
            </a:endParaRPr>
          </a:p>
        </p:txBody>
      </p:sp>
      <p:cxnSp>
        <p:nvCxnSpPr>
          <p:cNvPr id="5" name="Düz Ok Bağlayıcısı 4">
            <a:extLst>
              <a:ext uri="{FF2B5EF4-FFF2-40B4-BE49-F238E27FC236}">
                <a16:creationId xmlns:a16="http://schemas.microsoft.com/office/drawing/2014/main" id="{320D9577-61BD-4838-9BB5-D25B39489947}"/>
              </a:ext>
            </a:extLst>
          </p:cNvPr>
          <p:cNvCxnSpPr>
            <a:cxnSpLocks/>
            <a:stCxn id="20" idx="3"/>
            <a:endCxn id="21" idx="1"/>
          </p:cNvCxnSpPr>
          <p:nvPr/>
        </p:nvCxnSpPr>
        <p:spPr>
          <a:xfrm>
            <a:off x="2983097" y="4506690"/>
            <a:ext cx="5235345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Metin kutusu 21">
            <a:extLst>
              <a:ext uri="{FF2B5EF4-FFF2-40B4-BE49-F238E27FC236}">
                <a16:creationId xmlns:a16="http://schemas.microsoft.com/office/drawing/2014/main" id="{3A1635BD-02CF-47B7-B288-F13DAB74433C}"/>
              </a:ext>
            </a:extLst>
          </p:cNvPr>
          <p:cNvSpPr txBox="1"/>
          <p:nvPr/>
        </p:nvSpPr>
        <p:spPr>
          <a:xfrm>
            <a:off x="2931868" y="4847537"/>
            <a:ext cx="738184" cy="14770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tr-TR" sz="8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=</a:t>
            </a:r>
            <a:endParaRPr lang="en-US" sz="8000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80FF8EC1-07BB-4382-A309-C5A38C795278}"/>
              </a:ext>
            </a:extLst>
          </p:cNvPr>
          <p:cNvSpPr txBox="1">
            <a:spLocks/>
          </p:cNvSpPr>
          <p:nvPr/>
        </p:nvSpPr>
        <p:spPr>
          <a:xfrm>
            <a:off x="237067" y="179687"/>
            <a:ext cx="2875116" cy="6166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tr-TR" sz="3600" b="1" dirty="0" err="1">
                <a:solidFill>
                  <a:schemeClr val="bg1"/>
                </a:solidFill>
                <a:latin typeface="Baloo Paaji 2" panose="03080502040302020200" pitchFamily="66" charset="-94"/>
                <a:cs typeface="Baloo Paaji 2" panose="03080502040302020200" pitchFamily="66" charset="-94"/>
              </a:rPr>
              <a:t>Our</a:t>
            </a:r>
            <a:r>
              <a:rPr lang="tr-TR" sz="3600" b="1" dirty="0">
                <a:solidFill>
                  <a:schemeClr val="bg1"/>
                </a:solidFill>
                <a:latin typeface="Baloo Paaji 2" panose="03080502040302020200" pitchFamily="66" charset="-94"/>
                <a:cs typeface="Baloo Paaji 2" panose="03080502040302020200" pitchFamily="66" charset="-94"/>
              </a:rPr>
              <a:t> </a:t>
            </a:r>
            <a:r>
              <a:rPr lang="tr-TR" sz="3600" b="1" dirty="0" err="1">
                <a:solidFill>
                  <a:schemeClr val="bg1"/>
                </a:solidFill>
                <a:latin typeface="Baloo Paaji 2" panose="03080502040302020200" pitchFamily="66" charset="-94"/>
                <a:cs typeface="Baloo Paaji 2" panose="03080502040302020200" pitchFamily="66" charset="-94"/>
              </a:rPr>
              <a:t>Concept</a:t>
            </a:r>
            <a:endParaRPr lang="en-US" sz="3600" b="1" dirty="0">
              <a:solidFill>
                <a:schemeClr val="bg1"/>
              </a:solidFill>
              <a:latin typeface="Baloo Paaji 2" panose="03080502040302020200" pitchFamily="66" charset="-94"/>
              <a:cs typeface="Baloo Paaji 2" panose="03080502040302020200" pitchFamily="66" charset="-94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5A4FD55F-6226-4FBF-9E07-FA199939843A}"/>
              </a:ext>
            </a:extLst>
          </p:cNvPr>
          <p:cNvSpPr txBox="1">
            <a:spLocks/>
          </p:cNvSpPr>
          <p:nvPr/>
        </p:nvSpPr>
        <p:spPr>
          <a:xfrm>
            <a:off x="10299700" y="6483350"/>
            <a:ext cx="1892300" cy="374650"/>
          </a:xfrm>
          <a:prstGeom prst="rect">
            <a:avLst/>
          </a:prstGeom>
        </p:spPr>
        <p:txBody>
          <a:bodyPr vert="horz" lIns="91440" tIns="45720" rIns="91440" bIns="45720" rtlCol="0">
            <a:normAutofit fontScale="47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b="1">
                <a:solidFill>
                  <a:schemeClr val="bg1"/>
                </a:solidFill>
              </a:rPr>
              <a:t>12</a:t>
            </a:r>
            <a:r>
              <a:rPr lang="en-US" b="1">
                <a:solidFill>
                  <a:schemeClr val="bg1"/>
                </a:solidFill>
              </a:rPr>
              <a:t> December, 2021</a:t>
            </a:r>
            <a:endParaRPr lang="en-US" b="1" dirty="0">
              <a:solidFill>
                <a:schemeClr val="bg1"/>
              </a:solidFill>
            </a:endParaRPr>
          </a:p>
        </p:txBody>
      </p:sp>
      <p:pic>
        <p:nvPicPr>
          <p:cNvPr id="32" name="Resim 31">
            <a:extLst>
              <a:ext uri="{FF2B5EF4-FFF2-40B4-BE49-F238E27FC236}">
                <a16:creationId xmlns:a16="http://schemas.microsoft.com/office/drawing/2014/main" id="{A62AB3F9-C21F-4E6E-8F21-7F7A3E64D360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3300960" y="3970934"/>
            <a:ext cx="5079999" cy="3048000"/>
          </a:xfrm>
          <a:prstGeom prst="rect">
            <a:avLst/>
          </a:prstGeom>
        </p:spPr>
      </p:pic>
      <p:sp>
        <p:nvSpPr>
          <p:cNvPr id="33" name="Dikdörtgen 32">
            <a:extLst>
              <a:ext uri="{FF2B5EF4-FFF2-40B4-BE49-F238E27FC236}">
                <a16:creationId xmlns:a16="http://schemas.microsoft.com/office/drawing/2014/main" id="{BE831AE7-9409-48D9-BCB1-8E7FCCC09D4B}"/>
              </a:ext>
            </a:extLst>
          </p:cNvPr>
          <p:cNvSpPr/>
          <p:nvPr/>
        </p:nvSpPr>
        <p:spPr>
          <a:xfrm>
            <a:off x="3668819" y="4916069"/>
            <a:ext cx="1911998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tr-TR" b="1" cap="none" spc="0" dirty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aloo Paaji 2" panose="03080502040302020200"/>
              </a:rPr>
              <a:t>Less</a:t>
            </a:r>
            <a:r>
              <a:rPr lang="tr-TR" b="1" cap="none" spc="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aloo Paaji 2" panose="03080502040302020200"/>
              </a:rPr>
              <a:t> </a:t>
            </a:r>
            <a:r>
              <a:rPr lang="tr-TR" b="1" cap="none" spc="0" dirty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aloo Paaji 2" panose="03080502040302020200"/>
              </a:rPr>
              <a:t>carbon</a:t>
            </a:r>
            <a:r>
              <a:rPr lang="tr-TR" b="1" cap="none" spc="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aloo Paaji 2" panose="03080502040302020200"/>
              </a:rPr>
              <a:t>, </a:t>
            </a:r>
            <a:r>
              <a:rPr lang="tr-TR" b="1" cap="none" spc="0" dirty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aloo Paaji 2" panose="03080502040302020200"/>
              </a:rPr>
              <a:t>more</a:t>
            </a:r>
            <a:endParaRPr lang="tr-TR" b="1" cap="none" spc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Baloo Paaji 2" panose="03080502040302020200"/>
            </a:endParaRPr>
          </a:p>
        </p:txBody>
      </p:sp>
    </p:spTree>
    <p:extLst>
      <p:ext uri="{BB962C8B-B14F-4D97-AF65-F5344CB8AC3E}">
        <p14:creationId xmlns:p14="http://schemas.microsoft.com/office/powerpoint/2010/main" val="162356261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tin kutusu 2">
            <a:extLst>
              <a:ext uri="{FF2B5EF4-FFF2-40B4-BE49-F238E27FC236}">
                <a16:creationId xmlns:a16="http://schemas.microsoft.com/office/drawing/2014/main" id="{C3F7B694-A0E7-422A-8F31-0E8F4E0306D2}"/>
              </a:ext>
            </a:extLst>
          </p:cNvPr>
          <p:cNvSpPr txBox="1"/>
          <p:nvPr/>
        </p:nvSpPr>
        <p:spPr>
          <a:xfrm>
            <a:off x="4632960" y="1110462"/>
            <a:ext cx="4869893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2400" dirty="0">
                <a:solidFill>
                  <a:srgbClr val="00B0F0"/>
                </a:solidFill>
              </a:rPr>
              <a:t>GAIN FOR ELECTRIC VEHICLE DRIVE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tr-TR" sz="2400" dirty="0" err="1">
                <a:solidFill>
                  <a:srgbClr val="FFFFFF"/>
                </a:solidFill>
              </a:rPr>
              <a:t>Optimized</a:t>
            </a:r>
            <a:r>
              <a:rPr lang="tr-TR" sz="2400" dirty="0">
                <a:solidFill>
                  <a:srgbClr val="FFFFFF"/>
                </a:solidFill>
              </a:rPr>
              <a:t> </a:t>
            </a:r>
            <a:r>
              <a:rPr lang="tr-TR" sz="2400" dirty="0" err="1">
                <a:solidFill>
                  <a:srgbClr val="FFFFFF"/>
                </a:solidFill>
              </a:rPr>
              <a:t>route</a:t>
            </a:r>
            <a:endParaRPr lang="tr-TR" sz="2400" dirty="0">
              <a:solidFill>
                <a:srgbClr val="FFFFFF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tr-TR" sz="2400" dirty="0" err="1">
                <a:solidFill>
                  <a:srgbClr val="FFFFFF"/>
                </a:solidFill>
              </a:rPr>
              <a:t>Greencoins</a:t>
            </a:r>
            <a:endParaRPr lang="tr-TR" sz="2400" dirty="0">
              <a:solidFill>
                <a:srgbClr val="FFFFFF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tr-TR" sz="2400" dirty="0" err="1">
                <a:solidFill>
                  <a:srgbClr val="FFFFFF"/>
                </a:solidFill>
              </a:rPr>
              <a:t>Free</a:t>
            </a:r>
            <a:r>
              <a:rPr lang="tr-TR" sz="2400" dirty="0">
                <a:solidFill>
                  <a:srgbClr val="FFFFFF"/>
                </a:solidFill>
              </a:rPr>
              <a:t> </a:t>
            </a:r>
            <a:r>
              <a:rPr lang="tr-TR" sz="2400" dirty="0" err="1">
                <a:solidFill>
                  <a:srgbClr val="FFFFFF"/>
                </a:solidFill>
              </a:rPr>
              <a:t>charging</a:t>
            </a:r>
            <a:endParaRPr lang="tr-TR" sz="2400" dirty="0">
              <a:solidFill>
                <a:srgbClr val="FFFFFF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tr-TR" sz="2400" dirty="0" err="1">
                <a:solidFill>
                  <a:srgbClr val="FFFFFF"/>
                </a:solidFill>
              </a:rPr>
              <a:t>Priority</a:t>
            </a:r>
            <a:endParaRPr lang="tr-TR" sz="2400" dirty="0">
              <a:solidFill>
                <a:srgbClr val="FFFFFF"/>
              </a:solidFill>
            </a:endParaRPr>
          </a:p>
          <a:p>
            <a:endParaRPr lang="tr-TR" dirty="0">
              <a:solidFill>
                <a:srgbClr val="FFFFFF"/>
              </a:solidFill>
            </a:endParaRPr>
          </a:p>
        </p:txBody>
      </p:sp>
      <p:sp>
        <p:nvSpPr>
          <p:cNvPr id="5" name="Metin kutusu 4">
            <a:extLst>
              <a:ext uri="{FF2B5EF4-FFF2-40B4-BE49-F238E27FC236}">
                <a16:creationId xmlns:a16="http://schemas.microsoft.com/office/drawing/2014/main" id="{D91169B5-D34B-4DC4-AC75-3F26B0B0367A}"/>
              </a:ext>
            </a:extLst>
          </p:cNvPr>
          <p:cNvSpPr txBox="1"/>
          <p:nvPr/>
        </p:nvSpPr>
        <p:spPr>
          <a:xfrm>
            <a:off x="7408742" y="3218525"/>
            <a:ext cx="441953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2400" dirty="0">
                <a:solidFill>
                  <a:srgbClr val="00B0F0"/>
                </a:solidFill>
              </a:rPr>
              <a:t>GAIN FOR CARGO COMPANIE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tr-TR" sz="2400" dirty="0" err="1">
                <a:solidFill>
                  <a:srgbClr val="FFFFFF"/>
                </a:solidFill>
              </a:rPr>
              <a:t>Eco-friendly</a:t>
            </a:r>
            <a:r>
              <a:rPr lang="tr-TR" sz="2400" dirty="0">
                <a:solidFill>
                  <a:srgbClr val="FFFFFF"/>
                </a:solidFill>
              </a:rPr>
              <a:t> </a:t>
            </a:r>
            <a:r>
              <a:rPr lang="tr-TR" sz="2400" dirty="0" err="1">
                <a:solidFill>
                  <a:srgbClr val="FFFFFF"/>
                </a:solidFill>
              </a:rPr>
              <a:t>delivery</a:t>
            </a:r>
            <a:endParaRPr lang="tr-TR" sz="2400" dirty="0">
              <a:solidFill>
                <a:srgbClr val="FFFFFF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tr-TR" sz="2400" dirty="0" err="1">
                <a:solidFill>
                  <a:srgbClr val="FFFFFF"/>
                </a:solidFill>
              </a:rPr>
              <a:t>Fastest</a:t>
            </a:r>
            <a:r>
              <a:rPr lang="tr-TR" sz="2400" dirty="0">
                <a:solidFill>
                  <a:srgbClr val="FFFFFF"/>
                </a:solidFill>
              </a:rPr>
              <a:t> </a:t>
            </a:r>
            <a:r>
              <a:rPr lang="tr-TR" sz="2400" dirty="0" err="1">
                <a:solidFill>
                  <a:srgbClr val="FFFFFF"/>
                </a:solidFill>
              </a:rPr>
              <a:t>delivery</a:t>
            </a:r>
            <a:endParaRPr lang="tr-TR" sz="2400" dirty="0">
              <a:solidFill>
                <a:srgbClr val="FFFFFF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tr-TR" sz="2400" dirty="0" err="1">
                <a:solidFill>
                  <a:srgbClr val="FFFFFF"/>
                </a:solidFill>
              </a:rPr>
              <a:t>Cost</a:t>
            </a:r>
            <a:r>
              <a:rPr lang="tr-TR" sz="2400" dirty="0">
                <a:solidFill>
                  <a:srgbClr val="FFFFFF"/>
                </a:solidFill>
              </a:rPr>
              <a:t> </a:t>
            </a:r>
            <a:r>
              <a:rPr lang="tr-TR" sz="2400" dirty="0" err="1">
                <a:solidFill>
                  <a:srgbClr val="FFFFFF"/>
                </a:solidFill>
              </a:rPr>
              <a:t>reduction</a:t>
            </a:r>
            <a:endParaRPr lang="tr-TR" sz="2400" dirty="0">
              <a:solidFill>
                <a:srgbClr val="FFFFFF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tr-TR" sz="2400" dirty="0" err="1">
                <a:solidFill>
                  <a:srgbClr val="FFFFFF"/>
                </a:solidFill>
              </a:rPr>
              <a:t>Customer</a:t>
            </a:r>
            <a:r>
              <a:rPr lang="tr-TR" sz="2400" dirty="0">
                <a:solidFill>
                  <a:srgbClr val="FFFFFF"/>
                </a:solidFill>
              </a:rPr>
              <a:t> </a:t>
            </a:r>
            <a:r>
              <a:rPr lang="tr-TR" sz="2400" dirty="0" err="1">
                <a:solidFill>
                  <a:srgbClr val="FFFFFF"/>
                </a:solidFill>
              </a:rPr>
              <a:t>satisfaction</a:t>
            </a:r>
            <a:endParaRPr lang="tr-TR" dirty="0"/>
          </a:p>
        </p:txBody>
      </p:sp>
      <p:cxnSp>
        <p:nvCxnSpPr>
          <p:cNvPr id="9" name="Düz Bağlayıcı 8">
            <a:extLst>
              <a:ext uri="{FF2B5EF4-FFF2-40B4-BE49-F238E27FC236}">
                <a16:creationId xmlns:a16="http://schemas.microsoft.com/office/drawing/2014/main" id="{DC8EB8C3-A961-439C-AE7A-994094B9131B}"/>
              </a:ext>
            </a:extLst>
          </p:cNvPr>
          <p:cNvCxnSpPr/>
          <p:nvPr/>
        </p:nvCxnSpPr>
        <p:spPr>
          <a:xfrm flipV="1">
            <a:off x="4886960" y="975359"/>
            <a:ext cx="5832000" cy="370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BBDC250-2016-4DB3-BD44-FAF4E25F3FE8}"/>
              </a:ext>
            </a:extLst>
          </p:cNvPr>
          <p:cNvSpPr txBox="1">
            <a:spLocks/>
          </p:cNvSpPr>
          <p:nvPr/>
        </p:nvSpPr>
        <p:spPr>
          <a:xfrm>
            <a:off x="10299700" y="6483350"/>
            <a:ext cx="1892300" cy="374650"/>
          </a:xfrm>
          <a:prstGeom prst="rect">
            <a:avLst/>
          </a:prstGeom>
        </p:spPr>
        <p:txBody>
          <a:bodyPr vert="horz" lIns="91440" tIns="45720" rIns="91440" bIns="45720" rtlCol="0">
            <a:normAutofit fontScale="47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b="1">
                <a:solidFill>
                  <a:schemeClr val="bg1"/>
                </a:solidFill>
              </a:rPr>
              <a:t>12</a:t>
            </a:r>
            <a:r>
              <a:rPr lang="en-US" b="1">
                <a:solidFill>
                  <a:schemeClr val="bg1"/>
                </a:solidFill>
              </a:rPr>
              <a:t> December, 2021</a:t>
            </a:r>
            <a:endParaRPr lang="en-US" b="1" dirty="0">
              <a:solidFill>
                <a:schemeClr val="bg1"/>
              </a:solidFill>
            </a:endParaRPr>
          </a:p>
        </p:txBody>
      </p:sp>
      <p:pic>
        <p:nvPicPr>
          <p:cNvPr id="22" name="Resim 21">
            <a:extLst>
              <a:ext uri="{FF2B5EF4-FFF2-40B4-BE49-F238E27FC236}">
                <a16:creationId xmlns:a16="http://schemas.microsoft.com/office/drawing/2014/main" id="{422DFE16-A856-41BA-AE30-1F6606691E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9558" y="1110462"/>
            <a:ext cx="2976404" cy="2976404"/>
          </a:xfrm>
          <a:prstGeom prst="rect">
            <a:avLst/>
          </a:prstGeom>
        </p:spPr>
      </p:pic>
      <p:sp>
        <p:nvSpPr>
          <p:cNvPr id="24" name="Metin kutusu 23">
            <a:extLst>
              <a:ext uri="{FF2B5EF4-FFF2-40B4-BE49-F238E27FC236}">
                <a16:creationId xmlns:a16="http://schemas.microsoft.com/office/drawing/2014/main" id="{BC1FF20F-ED70-4704-B767-20B9056B7E48}"/>
              </a:ext>
            </a:extLst>
          </p:cNvPr>
          <p:cNvSpPr txBox="1"/>
          <p:nvPr/>
        </p:nvSpPr>
        <p:spPr>
          <a:xfrm>
            <a:off x="271780" y="163424"/>
            <a:ext cx="623316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Font typeface="Arial" panose="020B0604020202020204" pitchFamily="34" charset="0"/>
              <a:buNone/>
            </a:pPr>
            <a:r>
              <a:rPr lang="tr-TR" sz="3600" b="1" dirty="0">
                <a:solidFill>
                  <a:schemeClr val="bg1"/>
                </a:solidFill>
                <a:latin typeface="Baloo Paaji 2" panose="03080502040302020200" pitchFamily="66" charset="-94"/>
                <a:cs typeface="Baloo Paaji 2" panose="03080502040302020200" pitchFamily="66" charset="-94"/>
              </a:rPr>
              <a:t>Win-Win </a:t>
            </a:r>
            <a:r>
              <a:rPr lang="tr-TR" sz="3600" b="1" dirty="0" err="1">
                <a:solidFill>
                  <a:schemeClr val="bg1"/>
                </a:solidFill>
                <a:latin typeface="Baloo Paaji 2" panose="03080502040302020200" pitchFamily="66" charset="-94"/>
                <a:cs typeface="Baloo Paaji 2" panose="03080502040302020200" pitchFamily="66" charset="-94"/>
              </a:rPr>
              <a:t>Approach</a:t>
            </a:r>
            <a:r>
              <a:rPr lang="tr-TR" sz="3600" b="1" dirty="0">
                <a:solidFill>
                  <a:schemeClr val="bg1"/>
                </a:solidFill>
                <a:latin typeface="Baloo Paaji 2" panose="03080502040302020200" pitchFamily="66" charset="-94"/>
                <a:cs typeface="Baloo Paaji 2" panose="03080502040302020200" pitchFamily="66" charset="-94"/>
              </a:rPr>
              <a:t> </a:t>
            </a:r>
            <a:endParaRPr lang="en-US" sz="3600" b="1" dirty="0">
              <a:solidFill>
                <a:schemeClr val="bg1"/>
              </a:solidFill>
              <a:latin typeface="Baloo Paaji 2" panose="03080502040302020200" pitchFamily="66" charset="-94"/>
              <a:cs typeface="Baloo Paaji 2" panose="03080502040302020200" pitchFamily="66" charset="-94"/>
            </a:endParaRPr>
          </a:p>
        </p:txBody>
      </p:sp>
      <p:pic>
        <p:nvPicPr>
          <p:cNvPr id="25" name="Resim 24">
            <a:extLst>
              <a:ext uri="{FF2B5EF4-FFF2-40B4-BE49-F238E27FC236}">
                <a16:creationId xmlns:a16="http://schemas.microsoft.com/office/drawing/2014/main" id="{E8989AA5-F939-4FDC-BC9B-8DA51DD7C73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-296739" y="4255452"/>
            <a:ext cx="5079999" cy="3048000"/>
          </a:xfrm>
          <a:prstGeom prst="rect">
            <a:avLst/>
          </a:prstGeom>
        </p:spPr>
      </p:pic>
      <p:sp>
        <p:nvSpPr>
          <p:cNvPr id="26" name="Dikdörtgen 25">
            <a:extLst>
              <a:ext uri="{FF2B5EF4-FFF2-40B4-BE49-F238E27FC236}">
                <a16:creationId xmlns:a16="http://schemas.microsoft.com/office/drawing/2014/main" id="{CF5836BD-2697-48B2-A5A3-DF16646CB8A9}"/>
              </a:ext>
            </a:extLst>
          </p:cNvPr>
          <p:cNvSpPr/>
          <p:nvPr/>
        </p:nvSpPr>
        <p:spPr>
          <a:xfrm>
            <a:off x="71120" y="5200587"/>
            <a:ext cx="1911998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tr-TR" b="1" cap="none" spc="0" dirty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aloo Paaji 2" panose="03080502040302020200"/>
              </a:rPr>
              <a:t>Less</a:t>
            </a:r>
            <a:r>
              <a:rPr lang="tr-TR" b="1" cap="none" spc="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aloo Paaji 2" panose="03080502040302020200"/>
              </a:rPr>
              <a:t> </a:t>
            </a:r>
            <a:r>
              <a:rPr lang="tr-TR" b="1" cap="none" spc="0" dirty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aloo Paaji 2" panose="03080502040302020200"/>
              </a:rPr>
              <a:t>carbon</a:t>
            </a:r>
            <a:r>
              <a:rPr lang="tr-TR" b="1" cap="none" spc="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aloo Paaji 2" panose="03080502040302020200"/>
              </a:rPr>
              <a:t>, </a:t>
            </a:r>
            <a:r>
              <a:rPr lang="tr-TR" b="1" cap="none" spc="0" dirty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aloo Paaji 2" panose="03080502040302020200"/>
              </a:rPr>
              <a:t>more</a:t>
            </a:r>
            <a:endParaRPr lang="tr-TR" b="1" cap="none" spc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Baloo Paaji 2" panose="03080502040302020200"/>
            </a:endParaRPr>
          </a:p>
        </p:txBody>
      </p:sp>
    </p:spTree>
    <p:extLst>
      <p:ext uri="{BB962C8B-B14F-4D97-AF65-F5344CB8AC3E}">
        <p14:creationId xmlns:p14="http://schemas.microsoft.com/office/powerpoint/2010/main" val="336805815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49BF408-EF59-45FF-A355-1D89DC65DD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49BF408-EF59-45FF-A355-1D89DC65DD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ED6E5321-6D5D-4BC2-8870-193F939EE23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160"/>
            <a:ext cx="12192000" cy="6858000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C28770D-BECD-4637-8820-BBCF9AF6DE6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81041" y="3017520"/>
            <a:ext cx="5985510" cy="1230048"/>
          </a:xfrm>
        </p:spPr>
        <p:txBody>
          <a:bodyPr/>
          <a:lstStyle/>
          <a:p>
            <a:pPr algn="ctr"/>
            <a:r>
              <a:rPr lang="en-US" sz="4000" b="1" dirty="0">
                <a:solidFill>
                  <a:srgbClr val="00B0F0"/>
                </a:solidFill>
              </a:rPr>
              <a:t>Thank you</a:t>
            </a:r>
            <a:r>
              <a:rPr lang="tr-TR" sz="4000" b="1" dirty="0">
                <a:solidFill>
                  <a:srgbClr val="00B0F0"/>
                </a:solidFill>
              </a:rPr>
              <a:t>!</a:t>
            </a:r>
            <a:endParaRPr lang="en-US" sz="4000" b="1" dirty="0">
              <a:solidFill>
                <a:srgbClr val="00B0F0"/>
              </a:solidFill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D777D1B-81EB-4F5A-953C-3E908C88FD29}"/>
              </a:ext>
            </a:extLst>
          </p:cNvPr>
          <p:cNvSpPr txBox="1">
            <a:spLocks/>
          </p:cNvSpPr>
          <p:nvPr/>
        </p:nvSpPr>
        <p:spPr>
          <a:xfrm>
            <a:off x="10299700" y="6483350"/>
            <a:ext cx="1892300" cy="374650"/>
          </a:xfrm>
          <a:prstGeom prst="rect">
            <a:avLst/>
          </a:prstGeom>
        </p:spPr>
        <p:txBody>
          <a:bodyPr vert="horz" lIns="91440" tIns="45720" rIns="91440" bIns="45720" rtlCol="0">
            <a:normAutofit fontScale="47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b="1">
                <a:solidFill>
                  <a:schemeClr val="bg1"/>
                </a:solidFill>
              </a:rPr>
              <a:t>12</a:t>
            </a:r>
            <a:r>
              <a:rPr lang="en-US" b="1">
                <a:solidFill>
                  <a:schemeClr val="bg1"/>
                </a:solidFill>
              </a:rPr>
              <a:t> December, 2021</a:t>
            </a:r>
            <a:endParaRPr lang="en-US" b="1" dirty="0">
              <a:solidFill>
                <a:schemeClr val="bg1"/>
              </a:solidFill>
            </a:endParaRPr>
          </a:p>
        </p:txBody>
      </p:sp>
      <p:pic>
        <p:nvPicPr>
          <p:cNvPr id="22" name="Resim 21">
            <a:extLst>
              <a:ext uri="{FF2B5EF4-FFF2-40B4-BE49-F238E27FC236}">
                <a16:creationId xmlns:a16="http://schemas.microsoft.com/office/drawing/2014/main" id="{5EF5A81C-039F-43FD-AAD1-242CB0615E30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-296739" y="4418012"/>
            <a:ext cx="5079999" cy="3048000"/>
          </a:xfrm>
          <a:prstGeom prst="rect">
            <a:avLst/>
          </a:prstGeom>
        </p:spPr>
      </p:pic>
      <p:sp>
        <p:nvSpPr>
          <p:cNvPr id="23" name="Dikdörtgen 22">
            <a:extLst>
              <a:ext uri="{FF2B5EF4-FFF2-40B4-BE49-F238E27FC236}">
                <a16:creationId xmlns:a16="http://schemas.microsoft.com/office/drawing/2014/main" id="{ABA10E02-7159-4331-B045-732A147220B2}"/>
              </a:ext>
            </a:extLst>
          </p:cNvPr>
          <p:cNvSpPr/>
          <p:nvPr/>
        </p:nvSpPr>
        <p:spPr>
          <a:xfrm>
            <a:off x="20320" y="5200587"/>
            <a:ext cx="1911998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tr-TR" b="1" cap="none" spc="0" dirty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aloo Paaji 2" panose="03080502040302020200"/>
              </a:rPr>
              <a:t>Less</a:t>
            </a:r>
            <a:r>
              <a:rPr lang="tr-TR" b="1" cap="none" spc="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aloo Paaji 2" panose="03080502040302020200"/>
              </a:rPr>
              <a:t> </a:t>
            </a:r>
            <a:r>
              <a:rPr lang="tr-TR" b="1" cap="none" spc="0" dirty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aloo Paaji 2" panose="03080502040302020200"/>
              </a:rPr>
              <a:t>carbon</a:t>
            </a:r>
            <a:r>
              <a:rPr lang="tr-TR" b="1" cap="none" spc="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aloo Paaji 2" panose="03080502040302020200"/>
              </a:rPr>
              <a:t>, </a:t>
            </a:r>
            <a:r>
              <a:rPr lang="tr-TR" b="1" cap="none" spc="0" dirty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aloo Paaji 2" panose="03080502040302020200"/>
              </a:rPr>
              <a:t>more</a:t>
            </a:r>
            <a:endParaRPr lang="tr-TR" b="1" cap="none" spc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Baloo Paaji 2" panose="03080502040302020200"/>
            </a:endParaRPr>
          </a:p>
        </p:txBody>
      </p:sp>
    </p:spTree>
    <p:extLst>
      <p:ext uri="{BB962C8B-B14F-4D97-AF65-F5344CB8AC3E}">
        <p14:creationId xmlns:p14="http://schemas.microsoft.com/office/powerpoint/2010/main" val="1531758772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E0EC238F17376468BAF78428A3D9F46" ma:contentTypeVersion="8" ma:contentTypeDescription="Create a new document." ma:contentTypeScope="" ma:versionID="8403b6403becfbc9eead7a3e873c41fa">
  <xsd:schema xmlns:xsd="http://www.w3.org/2001/XMLSchema" xmlns:xs="http://www.w3.org/2001/XMLSchema" xmlns:p="http://schemas.microsoft.com/office/2006/metadata/properties" xmlns:ns2="a4c1dcca-628d-45cc-871f-9648798a2ecd" targetNamespace="http://schemas.microsoft.com/office/2006/metadata/properties" ma:root="true" ma:fieldsID="494488efae783b5ad6d4521e3c4ded6b" ns2:_="">
    <xsd:import namespace="a4c1dcca-628d-45cc-871f-9648798a2ec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c1dcca-628d-45cc-871f-9648798a2ec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3DDA048-ED21-4F91-A60B-C962B5027DBD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a4c1dcca-628d-45cc-871f-9648798a2ecd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473C47B-5166-4DCA-9963-9B1C8CA3374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5233D68-E066-4945-9C3D-046DDB7DCA60}">
  <ds:schemaRefs>
    <ds:schemaRef ds:uri="http://schemas.microsoft.com/office/2006/metadata/properties"/>
    <ds:schemaRef ds:uri="http://www.w3.org/2000/xmlns/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39</TotalTime>
  <Words>136</Words>
  <Application>Microsoft Office PowerPoint</Application>
  <PresentationFormat>Geniş ekran</PresentationFormat>
  <Paragraphs>41</Paragraphs>
  <Slides>6</Slides>
  <Notes>0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7</vt:i4>
      </vt:variant>
      <vt:variant>
        <vt:lpstr>Tema</vt:lpstr>
      </vt:variant>
      <vt:variant>
        <vt:i4>1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6</vt:i4>
      </vt:variant>
    </vt:vector>
  </HeadingPairs>
  <TitlesOfParts>
    <vt:vector size="15" baseType="lpstr">
      <vt:lpstr>Arial</vt:lpstr>
      <vt:lpstr>Baloo Paaji 2</vt:lpstr>
      <vt:lpstr>Calibri</vt:lpstr>
      <vt:lpstr>Calibri Light</vt:lpstr>
      <vt:lpstr>Open Sans</vt:lpstr>
      <vt:lpstr>Open Sans Light</vt:lpstr>
      <vt:lpstr>Wingdings</vt:lpstr>
      <vt:lpstr>Office Teması</vt:lpstr>
      <vt:lpstr>think-cell Slide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Bolsoy, Berna</dc:creator>
  <cp:keywords/>
  <dc:description/>
  <cp:lastModifiedBy>Melek K. 180316062</cp:lastModifiedBy>
  <cp:revision>44</cp:revision>
  <dcterms:created xsi:type="dcterms:W3CDTF">2020-04-27T14:54:24Z</dcterms:created>
  <dcterms:modified xsi:type="dcterms:W3CDTF">2021-12-12T09:22:44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E0EC238F17376468BAF78428A3D9F46</vt:lpwstr>
  </property>
  <property fmtid="{D5CDD505-2E9C-101B-9397-08002B2CF9AE}" pid="3" name="MSIP_Label_ea60d57e-af5b-4752-ac57-3e4f28ca11dc_SiteId">
    <vt:lpwstr>36da45f1-dd2c-4d1f-af13-5abe46b99921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Enabled">
    <vt:lpwstr>true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etDate">
    <vt:lpwstr>2021-03-16T23:04:15Z</vt:lpwstr>
  </property>
  <property fmtid="{D5CDD505-2E9C-101B-9397-08002B2CF9AE}" pid="8" name="MSIP_Label_ea60d57e-af5b-4752-ac57-3e4f28ca11dc_ContentBits">
    <vt:lpwstr>0</vt:lpwstr>
  </property>
  <property fmtid="{D5CDD505-2E9C-101B-9397-08002B2CF9AE}" pid="9" name="MSIP_Label_ea60d57e-af5b-4752-ac57-3e4f28ca11dc_ActionId">
    <vt:lpwstr>eefdd777-cb2e-454d-837b-4120f4a007d7</vt:lpwstr>
  </property>
</Properties>
</file>